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10.xml" ContentType="application/vnd.openxmlformats-officedocument.drawingml.chart+xml"/>
  <Override PartName="/ppt/theme/themeOverride1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11.xml" ContentType="application/vnd.openxmlformats-officedocument.drawingml.chart+xml"/>
  <Override PartName="/ppt/theme/themeOverride2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21" r:id="rId3"/>
    <p:sldMasterId id="2147483833" r:id="rId4"/>
  </p:sldMasterIdLst>
  <p:notesMasterIdLst>
    <p:notesMasterId r:id="rId36"/>
  </p:notesMasterIdLst>
  <p:sldIdLst>
    <p:sldId id="1624" r:id="rId5"/>
    <p:sldId id="4565" r:id="rId6"/>
    <p:sldId id="4634" r:id="rId7"/>
    <p:sldId id="4601" r:id="rId8"/>
    <p:sldId id="4635" r:id="rId9"/>
    <p:sldId id="2507" r:id="rId10"/>
    <p:sldId id="4517" r:id="rId11"/>
    <p:sldId id="4624" r:id="rId12"/>
    <p:sldId id="2345" r:id="rId13"/>
    <p:sldId id="2346" r:id="rId14"/>
    <p:sldId id="2365" r:id="rId15"/>
    <p:sldId id="4619" r:id="rId16"/>
    <p:sldId id="2417" r:id="rId17"/>
    <p:sldId id="4641" r:id="rId18"/>
    <p:sldId id="4642" r:id="rId19"/>
    <p:sldId id="2410" r:id="rId20"/>
    <p:sldId id="1406" r:id="rId21"/>
    <p:sldId id="4640" r:id="rId22"/>
    <p:sldId id="4482" r:id="rId23"/>
    <p:sldId id="4636" r:id="rId24"/>
    <p:sldId id="4560" r:id="rId25"/>
    <p:sldId id="4621" r:id="rId26"/>
    <p:sldId id="4559" r:id="rId27"/>
    <p:sldId id="4622" r:id="rId28"/>
    <p:sldId id="4638" r:id="rId29"/>
    <p:sldId id="4639" r:id="rId30"/>
    <p:sldId id="4574" r:id="rId31"/>
    <p:sldId id="4643" r:id="rId32"/>
    <p:sldId id="4518" r:id="rId33"/>
    <p:sldId id="4519" r:id="rId34"/>
    <p:sldId id="4472" r:id="rId35"/>
  </p:sldIdLst>
  <p:sldSz cx="12192000" cy="6858000"/>
  <p:notesSz cx="6858000" cy="9144000"/>
  <p:custDataLst>
    <p:tags r:id="rId3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4472C4"/>
    <a:srgbClr val="00FF00"/>
    <a:srgbClr val="3333CC"/>
    <a:srgbClr val="0000FF"/>
    <a:srgbClr val="FF9900"/>
    <a:srgbClr val="FF33CC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186" y="102"/>
      </p:cViewPr>
      <p:guideLst>
        <p:guide orient="horz" pos="1026"/>
        <p:guide pos="52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33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 cmpd="sng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8</c:f>
              <c:numCache>
                <c:formatCode>m/d/yyyy</c:formatCode>
                <c:ptCount val="317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</c:numCache>
            </c:numRef>
          </c:cat>
          <c:val>
            <c:numRef>
              <c:f>List1!$B$2:$B$318</c:f>
              <c:numCache>
                <c:formatCode>General</c:formatCode>
                <c:ptCount val="317"/>
                <c:pt idx="1">
                  <c:v>3.2895925631109999</c:v>
                </c:pt>
                <c:pt idx="2">
                  <c:v>5.6525393337969998</c:v>
                </c:pt>
                <c:pt idx="3">
                  <c:v>4.5405643828860001</c:v>
                </c:pt>
                <c:pt idx="4">
                  <c:v>4.67956125175</c:v>
                </c:pt>
                <c:pt idx="5">
                  <c:v>4.9112226998560002</c:v>
                </c:pt>
                <c:pt idx="6">
                  <c:v>3.3822571423540002</c:v>
                </c:pt>
                <c:pt idx="7">
                  <c:v>4.5868966725069997</c:v>
                </c:pt>
                <c:pt idx="8">
                  <c:v>4.5405643828860001</c:v>
                </c:pt>
                <c:pt idx="9">
                  <c:v>5.9305330715249998</c:v>
                </c:pt>
                <c:pt idx="10">
                  <c:v>5.4208778856900004</c:v>
                </c:pt>
                <c:pt idx="11">
                  <c:v>5.0502195687200002</c:v>
                </c:pt>
                <c:pt idx="12">
                  <c:v>5.3745455960689998</c:v>
                </c:pt>
                <c:pt idx="13">
                  <c:v>4.4478998036429997</c:v>
                </c:pt>
                <c:pt idx="14">
                  <c:v>3.9845769074300001</c:v>
                </c:pt>
                <c:pt idx="15">
                  <c:v>4.0772414866729996</c:v>
                </c:pt>
                <c:pt idx="16">
                  <c:v>5.0038872790989997</c:v>
                </c:pt>
                <c:pt idx="17">
                  <c:v>4.818558120614</c:v>
                </c:pt>
                <c:pt idx="18">
                  <c:v>4.7258935413709997</c:v>
                </c:pt>
                <c:pt idx="19">
                  <c:v>4.3089029347789998</c:v>
                </c:pt>
                <c:pt idx="20">
                  <c:v>4.5868966725069997</c:v>
                </c:pt>
                <c:pt idx="21">
                  <c:v>3.938244617809</c:v>
                </c:pt>
                <c:pt idx="22">
                  <c:v>2.5946082187920001</c:v>
                </c:pt>
                <c:pt idx="23">
                  <c:v>4.1235756868409998</c:v>
                </c:pt>
                <c:pt idx="24">
                  <c:v>4.0309110646650002</c:v>
                </c:pt>
                <c:pt idx="25">
                  <c:v>3.8919177378319998</c:v>
                </c:pt>
                <c:pt idx="26">
                  <c:v>3.9382500918529999</c:v>
                </c:pt>
                <c:pt idx="27">
                  <c:v>3.6602559677230002</c:v>
                </c:pt>
                <c:pt idx="28">
                  <c:v>2.9189396557870002</c:v>
                </c:pt>
                <c:pt idx="29">
                  <c:v>2.9652720312760001</c:v>
                </c:pt>
                <c:pt idx="30">
                  <c:v>3.706590039095</c:v>
                </c:pt>
                <c:pt idx="31">
                  <c:v>4.2625805199139997</c:v>
                </c:pt>
                <c:pt idx="32">
                  <c:v>3.2896001838459998</c:v>
                </c:pt>
                <c:pt idx="33">
                  <c:v>3.5212654315980001</c:v>
                </c:pt>
                <c:pt idx="34">
                  <c:v>4.1699195900500001</c:v>
                </c:pt>
                <c:pt idx="35">
                  <c:v>3.4286005518190001</c:v>
                </c:pt>
                <c:pt idx="36">
                  <c:v>3.706693083032</c:v>
                </c:pt>
                <c:pt idx="37">
                  <c:v>3.7998569029490001</c:v>
                </c:pt>
                <c:pt idx="38">
                  <c:v>4.2644476705910002</c:v>
                </c:pt>
                <c:pt idx="39">
                  <c:v>4.3580418854180003</c:v>
                </c:pt>
                <c:pt idx="40">
                  <c:v>3.6630002661469998</c:v>
                </c:pt>
                <c:pt idx="41">
                  <c:v>4.1734078796720002</c:v>
                </c:pt>
                <c:pt idx="42">
                  <c:v>4.1735723831930001</c:v>
                </c:pt>
                <c:pt idx="43">
                  <c:v>3.338974035303</c:v>
                </c:pt>
                <c:pt idx="44">
                  <c:v>5.333805800305</c:v>
                </c:pt>
                <c:pt idx="45">
                  <c:v>3.9430475489779999</c:v>
                </c:pt>
                <c:pt idx="46">
                  <c:v>4.1757121097040004</c:v>
                </c:pt>
                <c:pt idx="47">
                  <c:v>4.3630786997279998</c:v>
                </c:pt>
                <c:pt idx="48">
                  <c:v>3.6689356789129999</c:v>
                </c:pt>
                <c:pt idx="49">
                  <c:v>2.740438655977</c:v>
                </c:pt>
                <c:pt idx="50">
                  <c:v>3.623467807346</c:v>
                </c:pt>
                <c:pt idx="51">
                  <c:v>3.951090152256</c:v>
                </c:pt>
                <c:pt idx="52">
                  <c:v>4.6993333925789997</c:v>
                </c:pt>
                <c:pt idx="53">
                  <c:v>5.3105408646110002</c:v>
                </c:pt>
                <c:pt idx="54">
                  <c:v>4.3391822087929999</c:v>
                </c:pt>
                <c:pt idx="55">
                  <c:v>4.158023583936</c:v>
                </c:pt>
                <c:pt idx="56">
                  <c:v>3.8800530679060001</c:v>
                </c:pt>
                <c:pt idx="57">
                  <c:v>4.631479275767</c:v>
                </c:pt>
                <c:pt idx="58">
                  <c:v>4.7823917960409998</c:v>
                </c:pt>
                <c:pt idx="59">
                  <c:v>5.3599235693700003</c:v>
                </c:pt>
                <c:pt idx="60">
                  <c:v>5.8975116275330004</c:v>
                </c:pt>
                <c:pt idx="61">
                  <c:v>5.9249400159069996</c:v>
                </c:pt>
                <c:pt idx="62">
                  <c:v>4.7606511237750002</c:v>
                </c:pt>
                <c:pt idx="63">
                  <c:v>5.5760460686249997</c:v>
                </c:pt>
                <c:pt idx="64">
                  <c:v>5.102432525098</c:v>
                </c:pt>
                <c:pt idx="65">
                  <c:v>6.5038099892780004</c:v>
                </c:pt>
                <c:pt idx="66">
                  <c:v>5.9948329335970003</c:v>
                </c:pt>
                <c:pt idx="67">
                  <c:v>5.7216462378250004</c:v>
                </c:pt>
                <c:pt idx="68">
                  <c:v>5.3980794404500001</c:v>
                </c:pt>
                <c:pt idx="69">
                  <c:v>6.3289090555090004</c:v>
                </c:pt>
                <c:pt idx="70">
                  <c:v>4.8820430721869998</c:v>
                </c:pt>
                <c:pt idx="71">
                  <c:v>5.0292615980089996</c:v>
                </c:pt>
                <c:pt idx="72">
                  <c:v>6.6385843243149996</c:v>
                </c:pt>
                <c:pt idx="73">
                  <c:v>6.6057801547789996</c:v>
                </c:pt>
                <c:pt idx="74">
                  <c:v>7.5442237529150002</c:v>
                </c:pt>
                <c:pt idx="75">
                  <c:v>5.6563375117080001</c:v>
                </c:pt>
                <c:pt idx="76">
                  <c:v>5.7150030553280002</c:v>
                </c:pt>
                <c:pt idx="77">
                  <c:v>4.6414980215000003</c:v>
                </c:pt>
                <c:pt idx="78">
                  <c:v>5.2290213617730004</c:v>
                </c:pt>
                <c:pt idx="79">
                  <c:v>5.2353100624610001</c:v>
                </c:pt>
                <c:pt idx="80">
                  <c:v>5.8293699332850002</c:v>
                </c:pt>
                <c:pt idx="81">
                  <c:v>5.3471030229769996</c:v>
                </c:pt>
                <c:pt idx="82">
                  <c:v>5.5522444088159997</c:v>
                </c:pt>
                <c:pt idx="83">
                  <c:v>5.168622621141</c:v>
                </c:pt>
                <c:pt idx="84">
                  <c:v>3.2993240325220001</c:v>
                </c:pt>
                <c:pt idx="85">
                  <c:v>3.596147688366</c:v>
                </c:pt>
                <c:pt idx="86">
                  <c:v>5.7242961829799999</c:v>
                </c:pt>
                <c:pt idx="87">
                  <c:v>4.7974962015699996</c:v>
                </c:pt>
                <c:pt idx="88">
                  <c:v>4.9569783846000002</c:v>
                </c:pt>
                <c:pt idx="89">
                  <c:v>4.2742710255610001</c:v>
                </c:pt>
                <c:pt idx="90">
                  <c:v>4.1360326178489997</c:v>
                </c:pt>
                <c:pt idx="91">
                  <c:v>4.1880869865659998</c:v>
                </c:pt>
                <c:pt idx="92">
                  <c:v>3.291864157734</c:v>
                </c:pt>
                <c:pt idx="93">
                  <c:v>4.7526591127730002</c:v>
                </c:pt>
                <c:pt idx="94">
                  <c:v>3.4149832389600001</c:v>
                </c:pt>
                <c:pt idx="95">
                  <c:v>4.0826633481160002</c:v>
                </c:pt>
                <c:pt idx="96">
                  <c:v>3.8983295404780001</c:v>
                </c:pt>
                <c:pt idx="97">
                  <c:v>3.4589896087879999</c:v>
                </c:pt>
                <c:pt idx="98">
                  <c:v>3.512572974976</c:v>
                </c:pt>
                <c:pt idx="99">
                  <c:v>2.8525612944100001</c:v>
                </c:pt>
                <c:pt idx="100">
                  <c:v>2.863692823943</c:v>
                </c:pt>
                <c:pt idx="101">
                  <c:v>3.3895136664160002</c:v>
                </c:pt>
                <c:pt idx="102">
                  <c:v>3.355169464447</c:v>
                </c:pt>
                <c:pt idx="103">
                  <c:v>3.5833936191700002</c:v>
                </c:pt>
                <c:pt idx="104">
                  <c:v>2.9770547422910001</c:v>
                </c:pt>
                <c:pt idx="105">
                  <c:v>2.5636799794899998</c:v>
                </c:pt>
                <c:pt idx="106">
                  <c:v>2.1482423447899999</c:v>
                </c:pt>
                <c:pt idx="107">
                  <c:v>3.271122216512</c:v>
                </c:pt>
                <c:pt idx="108">
                  <c:v>2.7103165809190002</c:v>
                </c:pt>
                <c:pt idx="109">
                  <c:v>3.1656912045290002</c:v>
                </c:pt>
                <c:pt idx="110">
                  <c:v>2.4425869927349999</c:v>
                </c:pt>
                <c:pt idx="111">
                  <c:v>3.0546243193909999</c:v>
                </c:pt>
                <c:pt idx="112">
                  <c:v>2.1906752811320001</c:v>
                </c:pt>
                <c:pt idx="113">
                  <c:v>1.59349414803</c:v>
                </c:pt>
                <c:pt idx="114">
                  <c:v>2.4793046927720002</c:v>
                </c:pt>
                <c:pt idx="115">
                  <c:v>1.5584568827850001</c:v>
                </c:pt>
                <c:pt idx="116">
                  <c:v>1.7957099367289999</c:v>
                </c:pt>
                <c:pt idx="117">
                  <c:v>1.8185537950940001</c:v>
                </c:pt>
                <c:pt idx="118">
                  <c:v>2.4141233111189999</c:v>
                </c:pt>
                <c:pt idx="119">
                  <c:v>1.0993010181259999</c:v>
                </c:pt>
                <c:pt idx="120">
                  <c:v>1.452738353687</c:v>
                </c:pt>
                <c:pt idx="121">
                  <c:v>2.2315176022690002</c:v>
                </c:pt>
                <c:pt idx="122">
                  <c:v>1.1273335061909999</c:v>
                </c:pt>
                <c:pt idx="123">
                  <c:v>1.9208248021700001</c:v>
                </c:pt>
                <c:pt idx="124">
                  <c:v>1.9421246844040001</c:v>
                </c:pt>
                <c:pt idx="125">
                  <c:v>1.1026256579760001</c:v>
                </c:pt>
                <c:pt idx="126">
                  <c:v>1.290845263919</c:v>
                </c:pt>
                <c:pt idx="127">
                  <c:v>0.86244336365200003</c:v>
                </c:pt>
                <c:pt idx="128">
                  <c:v>1.612305112619</c:v>
                </c:pt>
                <c:pt idx="129">
                  <c:v>2.1227949467489999</c:v>
                </c:pt>
                <c:pt idx="130">
                  <c:v>1.821311733832</c:v>
                </c:pt>
                <c:pt idx="131">
                  <c:v>0.695537808802</c:v>
                </c:pt>
                <c:pt idx="132">
                  <c:v>1.2065828620779999</c:v>
                </c:pt>
                <c:pt idx="133">
                  <c:v>0.70017625345800005</c:v>
                </c:pt>
                <c:pt idx="134">
                  <c:v>0.70119924193899996</c:v>
                </c:pt>
                <c:pt idx="135">
                  <c:v>1.3427195826060001</c:v>
                </c:pt>
                <c:pt idx="136">
                  <c:v>1.027982321274</c:v>
                </c:pt>
                <c:pt idx="137">
                  <c:v>0.71064389505199999</c:v>
                </c:pt>
                <c:pt idx="138">
                  <c:v>0.78001852543899997</c:v>
                </c:pt>
                <c:pt idx="139">
                  <c:v>0.71744948014200005</c:v>
                </c:pt>
                <c:pt idx="140">
                  <c:v>0.52251825058199997</c:v>
                </c:pt>
                <c:pt idx="141">
                  <c:v>0.32685335658699999</c:v>
                </c:pt>
                <c:pt idx="142">
                  <c:v>0.85154660514500002</c:v>
                </c:pt>
                <c:pt idx="143">
                  <c:v>0.39444101134600001</c:v>
                </c:pt>
                <c:pt idx="144">
                  <c:v>0.46202943127399998</c:v>
                </c:pt>
                <c:pt idx="145">
                  <c:v>0.19890443437499999</c:v>
                </c:pt>
                <c:pt idx="146">
                  <c:v>0.26618434064099999</c:v>
                </c:pt>
                <c:pt idx="147">
                  <c:v>0.33295531806200002</c:v>
                </c:pt>
                <c:pt idx="148">
                  <c:v>0.133232698235</c:v>
                </c:pt>
                <c:pt idx="149">
                  <c:v>0.46768591016</c:v>
                </c:pt>
                <c:pt idx="150">
                  <c:v>0.40247603255199998</c:v>
                </c:pt>
                <c:pt idx="151">
                  <c:v>0.33674863801999999</c:v>
                </c:pt>
                <c:pt idx="152">
                  <c:v>6.7616132396999998E-2</c:v>
                </c:pt>
                <c:pt idx="153">
                  <c:v>6.7810172202999994E-2</c:v>
                </c:pt>
                <c:pt idx="154">
                  <c:v>0.20359135143900001</c:v>
                </c:pt>
                <c:pt idx="155">
                  <c:v>0.27161365673400001</c:v>
                </c:pt>
                <c:pt idx="156">
                  <c:v>0.34044430705599998</c:v>
                </c:pt>
                <c:pt idx="157">
                  <c:v>0.13696313021000001</c:v>
                </c:pt>
                <c:pt idx="158">
                  <c:v>0.13784851550900001</c:v>
                </c:pt>
                <c:pt idx="159">
                  <c:v>0.13960367911499999</c:v>
                </c:pt>
                <c:pt idx="160">
                  <c:v>0.21184600490200001</c:v>
                </c:pt>
                <c:pt idx="162">
                  <c:v>7.1252476023E-2</c:v>
                </c:pt>
                <c:pt idx="163">
                  <c:v>0.36189427041700001</c:v>
                </c:pt>
                <c:pt idx="164">
                  <c:v>0.14704465966800001</c:v>
                </c:pt>
                <c:pt idx="165">
                  <c:v>7.4824816397999996E-2</c:v>
                </c:pt>
                <c:pt idx="166">
                  <c:v>7.6478969430000002E-2</c:v>
                </c:pt>
                <c:pt idx="168">
                  <c:v>0.15712042259100001</c:v>
                </c:pt>
                <c:pt idx="173">
                  <c:v>0.17726457712999999</c:v>
                </c:pt>
                <c:pt idx="174">
                  <c:v>0.18264423186600001</c:v>
                </c:pt>
                <c:pt idx="175">
                  <c:v>9.2346932650000005E-2</c:v>
                </c:pt>
                <c:pt idx="176">
                  <c:v>0</c:v>
                </c:pt>
                <c:pt idx="177">
                  <c:v>9.6196949786999997E-2</c:v>
                </c:pt>
                <c:pt idx="181">
                  <c:v>0.10990605230599999</c:v>
                </c:pt>
                <c:pt idx="184">
                  <c:v>0.114582450093</c:v>
                </c:pt>
                <c:pt idx="193">
                  <c:v>0.27962446434400001</c:v>
                </c:pt>
                <c:pt idx="194">
                  <c:v>0.14352947593000001</c:v>
                </c:pt>
                <c:pt idx="196">
                  <c:v>0.14731055126500001</c:v>
                </c:pt>
                <c:pt idx="198">
                  <c:v>0</c:v>
                </c:pt>
                <c:pt idx="202">
                  <c:v>0</c:v>
                </c:pt>
                <c:pt idx="205">
                  <c:v>0.50476413213299998</c:v>
                </c:pt>
                <c:pt idx="209">
                  <c:v>0</c:v>
                </c:pt>
                <c:pt idx="212">
                  <c:v>0.36522942799500002</c:v>
                </c:pt>
                <c:pt idx="214">
                  <c:v>0.18954866567199999</c:v>
                </c:pt>
                <c:pt idx="215">
                  <c:v>0.19313445634500001</c:v>
                </c:pt>
                <c:pt idx="216">
                  <c:v>0.19579050415999999</c:v>
                </c:pt>
                <c:pt idx="219">
                  <c:v>0</c:v>
                </c:pt>
                <c:pt idx="221">
                  <c:v>0.410363315161</c:v>
                </c:pt>
                <c:pt idx="223">
                  <c:v>0</c:v>
                </c:pt>
                <c:pt idx="224">
                  <c:v>0.21024304095499999</c:v>
                </c:pt>
                <c:pt idx="225">
                  <c:v>0.21050016945200001</c:v>
                </c:pt>
                <c:pt idx="226">
                  <c:v>0.212335413512</c:v>
                </c:pt>
                <c:pt idx="227">
                  <c:v>0</c:v>
                </c:pt>
                <c:pt idx="228">
                  <c:v>0.43369177958900001</c:v>
                </c:pt>
                <c:pt idx="229">
                  <c:v>0</c:v>
                </c:pt>
                <c:pt idx="231">
                  <c:v>0.22092612230399999</c:v>
                </c:pt>
                <c:pt idx="232">
                  <c:v>0.44232912825699999</c:v>
                </c:pt>
                <c:pt idx="233">
                  <c:v>0.66787626478999995</c:v>
                </c:pt>
                <c:pt idx="235">
                  <c:v>0</c:v>
                </c:pt>
                <c:pt idx="236">
                  <c:v>0.45587162654899999</c:v>
                </c:pt>
                <c:pt idx="237">
                  <c:v>0</c:v>
                </c:pt>
                <c:pt idx="238">
                  <c:v>0</c:v>
                </c:pt>
                <c:pt idx="240">
                  <c:v>0.46357892199299999</c:v>
                </c:pt>
                <c:pt idx="241">
                  <c:v>0.23370164712899999</c:v>
                </c:pt>
                <c:pt idx="242">
                  <c:v>0.47119913110799999</c:v>
                </c:pt>
                <c:pt idx="243">
                  <c:v>0.237443399429</c:v>
                </c:pt>
                <c:pt idx="246">
                  <c:v>0.23958236002899999</c:v>
                </c:pt>
                <c:pt idx="247">
                  <c:v>0.24092786137899999</c:v>
                </c:pt>
                <c:pt idx="249">
                  <c:v>0.73259178764599997</c:v>
                </c:pt>
                <c:pt idx="250">
                  <c:v>0.246129611853</c:v>
                </c:pt>
                <c:pt idx="251">
                  <c:v>0.74334336020900005</c:v>
                </c:pt>
                <c:pt idx="252">
                  <c:v>0.24824429224299999</c:v>
                </c:pt>
                <c:pt idx="253">
                  <c:v>0.49711301615800002</c:v>
                </c:pt>
                <c:pt idx="254">
                  <c:v>0.50032771465299997</c:v>
                </c:pt>
                <c:pt idx="255">
                  <c:v>1.0072192439300001</c:v>
                </c:pt>
                <c:pt idx="256">
                  <c:v>0.25338394255199997</c:v>
                </c:pt>
                <c:pt idx="257">
                  <c:v>0.25471282402599998</c:v>
                </c:pt>
                <c:pt idx="258">
                  <c:v>0</c:v>
                </c:pt>
                <c:pt idx="259">
                  <c:v>0.25596396027399998</c:v>
                </c:pt>
                <c:pt idx="260">
                  <c:v>0.512225543151</c:v>
                </c:pt>
                <c:pt idx="261">
                  <c:v>1.028237985681</c:v>
                </c:pt>
                <c:pt idx="262">
                  <c:v>0.77398981429400004</c:v>
                </c:pt>
                <c:pt idx="263">
                  <c:v>0</c:v>
                </c:pt>
                <c:pt idx="264">
                  <c:v>0.25951714240399998</c:v>
                </c:pt>
                <c:pt idx="265">
                  <c:v>0</c:v>
                </c:pt>
                <c:pt idx="267">
                  <c:v>0.26035496796300001</c:v>
                </c:pt>
                <c:pt idx="268">
                  <c:v>0.26093650110200001</c:v>
                </c:pt>
                <c:pt idx="269">
                  <c:v>0</c:v>
                </c:pt>
                <c:pt idx="270">
                  <c:v>0</c:v>
                </c:pt>
                <c:pt idx="271">
                  <c:v>0.26269886303899997</c:v>
                </c:pt>
                <c:pt idx="273">
                  <c:v>0.79005583061200002</c:v>
                </c:pt>
                <c:pt idx="274">
                  <c:v>0.26340743862600002</c:v>
                </c:pt>
                <c:pt idx="275">
                  <c:v>0.52798728606599998</c:v>
                </c:pt>
                <c:pt idx="276">
                  <c:v>1.0582038576820001</c:v>
                </c:pt>
                <c:pt idx="277">
                  <c:v>0</c:v>
                </c:pt>
                <c:pt idx="278">
                  <c:v>1.0623436362959999</c:v>
                </c:pt>
                <c:pt idx="279">
                  <c:v>0.26614289744399999</c:v>
                </c:pt>
                <c:pt idx="280">
                  <c:v>0.79873055091099998</c:v>
                </c:pt>
                <c:pt idx="281">
                  <c:v>0.79887731108500004</c:v>
                </c:pt>
                <c:pt idx="282">
                  <c:v>1.3337067712290001</c:v>
                </c:pt>
                <c:pt idx="283">
                  <c:v>0.53437643613600005</c:v>
                </c:pt>
                <c:pt idx="284">
                  <c:v>1.605501518536</c:v>
                </c:pt>
                <c:pt idx="285">
                  <c:v>0.80410199229599999</c:v>
                </c:pt>
                <c:pt idx="286">
                  <c:v>0.80553131502899999</c:v>
                </c:pt>
                <c:pt idx="287">
                  <c:v>0.53718098164399997</c:v>
                </c:pt>
                <c:pt idx="288">
                  <c:v>0.80588186309099996</c:v>
                </c:pt>
                <c:pt idx="289">
                  <c:v>2.1520243824360001</c:v>
                </c:pt>
                <c:pt idx="290">
                  <c:v>1.8832037061439999</c:v>
                </c:pt>
                <c:pt idx="291">
                  <c:v>1.6172550330319999</c:v>
                </c:pt>
                <c:pt idx="292">
                  <c:v>1.620592326495</c:v>
                </c:pt>
                <c:pt idx="293">
                  <c:v>2.1643381994870001</c:v>
                </c:pt>
                <c:pt idx="294">
                  <c:v>0.54122072334100002</c:v>
                </c:pt>
                <c:pt idx="295">
                  <c:v>0.270646249113</c:v>
                </c:pt>
                <c:pt idx="296">
                  <c:v>4.0656025629550001</c:v>
                </c:pt>
                <c:pt idx="297">
                  <c:v>0.81433003710600005</c:v>
                </c:pt>
                <c:pt idx="298">
                  <c:v>1.087346548218</c:v>
                </c:pt>
                <c:pt idx="299">
                  <c:v>1.905876907578</c:v>
                </c:pt>
                <c:pt idx="300">
                  <c:v>4.0902137545699997</c:v>
                </c:pt>
                <c:pt idx="301">
                  <c:v>1.9090995868159999</c:v>
                </c:pt>
                <c:pt idx="302">
                  <c:v>1.9092818372739999</c:v>
                </c:pt>
                <c:pt idx="303">
                  <c:v>2.7311136662190001</c:v>
                </c:pt>
                <c:pt idx="304">
                  <c:v>3.008217904366</c:v>
                </c:pt>
                <c:pt idx="305">
                  <c:v>3.012089431673</c:v>
                </c:pt>
                <c:pt idx="306">
                  <c:v>1.6456119756659999</c:v>
                </c:pt>
                <c:pt idx="307">
                  <c:v>4.1199057365560003</c:v>
                </c:pt>
                <c:pt idx="308">
                  <c:v>3.8460481854889998</c:v>
                </c:pt>
                <c:pt idx="309">
                  <c:v>3.0222354101579998</c:v>
                </c:pt>
                <c:pt idx="310">
                  <c:v>5.2263706156929999</c:v>
                </c:pt>
                <c:pt idx="311">
                  <c:v>4.1285805114479999</c:v>
                </c:pt>
                <c:pt idx="312">
                  <c:v>3.3069876649359999</c:v>
                </c:pt>
                <c:pt idx="313">
                  <c:v>2.7606769179800001</c:v>
                </c:pt>
                <c:pt idx="314">
                  <c:v>5.5293678550190002</c:v>
                </c:pt>
                <c:pt idx="315">
                  <c:v>0.8296116034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15-40CB-86E0-25C5EA991A5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2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318</c:f>
              <c:numCache>
                <c:formatCode>m/d/yyyy</c:formatCode>
                <c:ptCount val="317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</c:numCache>
            </c:numRef>
          </c:cat>
          <c:val>
            <c:numRef>
              <c:f>List1!$C$2:$C$318</c:f>
              <c:numCache>
                <c:formatCode>General</c:formatCode>
                <c:ptCount val="31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5.2435635257720001</c:v>
                </c:pt>
                <c:pt idx="57">
                  <c:v>0</c:v>
                </c:pt>
                <c:pt idx="58">
                  <c:v>3.9354584809130002</c:v>
                </c:pt>
                <c:pt idx="59">
                  <c:v>0</c:v>
                </c:pt>
                <c:pt idx="60">
                  <c:v>0</c:v>
                </c:pt>
                <c:pt idx="61">
                  <c:v>2.0583331618049998</c:v>
                </c:pt>
                <c:pt idx="62">
                  <c:v>0</c:v>
                </c:pt>
                <c:pt idx="63">
                  <c:v>1.6652789342209999</c:v>
                </c:pt>
                <c:pt idx="64">
                  <c:v>0</c:v>
                </c:pt>
                <c:pt idx="65">
                  <c:v>1.487497582816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.96371608923999996</c:v>
                </c:pt>
                <c:pt idx="75">
                  <c:v>0.93006817399700004</c:v>
                </c:pt>
                <c:pt idx="76">
                  <c:v>1.801039199618</c:v>
                </c:pt>
                <c:pt idx="77">
                  <c:v>0.89656347221099997</c:v>
                </c:pt>
                <c:pt idx="78">
                  <c:v>0</c:v>
                </c:pt>
                <c:pt idx="79">
                  <c:v>0.87354554666399997</c:v>
                </c:pt>
                <c:pt idx="80">
                  <c:v>0.85541735812899999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.78388950293500004</c:v>
                </c:pt>
                <c:pt idx="85">
                  <c:v>0.77919244494999995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.68378873663100004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1.1970815152650001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1.0315605964479999</c:v>
                </c:pt>
                <c:pt idx="99">
                  <c:v>0</c:v>
                </c:pt>
                <c:pt idx="100">
                  <c:v>0</c:v>
                </c:pt>
                <c:pt idx="101">
                  <c:v>0.47378096158499999</c:v>
                </c:pt>
                <c:pt idx="102">
                  <c:v>0.45264229942200002</c:v>
                </c:pt>
                <c:pt idx="103">
                  <c:v>0.42976002200300001</c:v>
                </c:pt>
                <c:pt idx="104">
                  <c:v>0.82103828501499998</c:v>
                </c:pt>
                <c:pt idx="105">
                  <c:v>0.80996909967800002</c:v>
                </c:pt>
                <c:pt idx="106">
                  <c:v>0.40047897285099998</c:v>
                </c:pt>
                <c:pt idx="107">
                  <c:v>0.38043498936600001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.30776048847699999</c:v>
                </c:pt>
                <c:pt idx="112">
                  <c:v>0.30094194829799997</c:v>
                </c:pt>
                <c:pt idx="113">
                  <c:v>0.29558601405200002</c:v>
                </c:pt>
                <c:pt idx="114">
                  <c:v>0.58277775187600001</c:v>
                </c:pt>
                <c:pt idx="115">
                  <c:v>0</c:v>
                </c:pt>
                <c:pt idx="116">
                  <c:v>0.26582665443800002</c:v>
                </c:pt>
                <c:pt idx="117">
                  <c:v>1.2544973730819999</c:v>
                </c:pt>
                <c:pt idx="118">
                  <c:v>0</c:v>
                </c:pt>
                <c:pt idx="119">
                  <c:v>0.232648493717</c:v>
                </c:pt>
                <c:pt idx="120">
                  <c:v>0.45733519925999999</c:v>
                </c:pt>
                <c:pt idx="121">
                  <c:v>0.21961755798400001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.19019253189999999</c:v>
                </c:pt>
                <c:pt idx="126">
                  <c:v>0</c:v>
                </c:pt>
                <c:pt idx="127">
                  <c:v>0.37386182440799998</c:v>
                </c:pt>
                <c:pt idx="128">
                  <c:v>0.18326967766499999</c:v>
                </c:pt>
                <c:pt idx="129">
                  <c:v>0</c:v>
                </c:pt>
                <c:pt idx="130">
                  <c:v>0.17667938169200001</c:v>
                </c:pt>
                <c:pt idx="131">
                  <c:v>0.52016777144500004</c:v>
                </c:pt>
                <c:pt idx="132">
                  <c:v>0.17136668357400001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.16617589386000001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.31890500776500003</c:v>
                </c:pt>
                <c:pt idx="141">
                  <c:v>0</c:v>
                </c:pt>
                <c:pt idx="142">
                  <c:v>0</c:v>
                </c:pt>
                <c:pt idx="143">
                  <c:v>0.156978231828</c:v>
                </c:pt>
                <c:pt idx="144">
                  <c:v>0</c:v>
                </c:pt>
                <c:pt idx="145">
                  <c:v>0</c:v>
                </c:pt>
                <c:pt idx="146">
                  <c:v>0.15256437835299999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.29444673458499998</c:v>
                </c:pt>
                <c:pt idx="153">
                  <c:v>0</c:v>
                </c:pt>
                <c:pt idx="154">
                  <c:v>0</c:v>
                </c:pt>
                <c:pt idx="155">
                  <c:v>0.14588849742099999</c:v>
                </c:pt>
                <c:pt idx="156">
                  <c:v>0</c:v>
                </c:pt>
                <c:pt idx="157">
                  <c:v>0</c:v>
                </c:pt>
                <c:pt idx="158">
                  <c:v>0.14138812028700001</c:v>
                </c:pt>
                <c:pt idx="159">
                  <c:v>0</c:v>
                </c:pt>
                <c:pt idx="160">
                  <c:v>0</c:v>
                </c:pt>
                <c:pt idx="162">
                  <c:v>0.13250368360199999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8">
                  <c:v>0</c:v>
                </c:pt>
                <c:pt idx="173">
                  <c:v>9.7083514151E-2</c:v>
                </c:pt>
                <c:pt idx="174">
                  <c:v>0</c:v>
                </c:pt>
                <c:pt idx="175">
                  <c:v>0</c:v>
                </c:pt>
                <c:pt idx="176">
                  <c:v>9.2250837406E-2</c:v>
                </c:pt>
                <c:pt idx="177">
                  <c:v>0</c:v>
                </c:pt>
                <c:pt idx="181">
                  <c:v>0</c:v>
                </c:pt>
                <c:pt idx="184">
                  <c:v>0</c:v>
                </c:pt>
                <c:pt idx="193">
                  <c:v>0</c:v>
                </c:pt>
                <c:pt idx="194">
                  <c:v>0</c:v>
                </c:pt>
                <c:pt idx="196">
                  <c:v>0</c:v>
                </c:pt>
                <c:pt idx="198">
                  <c:v>6.6806648864000007E-2</c:v>
                </c:pt>
                <c:pt idx="202">
                  <c:v>6.4211394182999995E-2</c:v>
                </c:pt>
                <c:pt idx="205">
                  <c:v>6.3939395683E-2</c:v>
                </c:pt>
                <c:pt idx="209">
                  <c:v>6.2554891917000005E-2</c:v>
                </c:pt>
                <c:pt idx="212">
                  <c:v>0</c:v>
                </c:pt>
                <c:pt idx="214">
                  <c:v>6.1321590656999998E-2</c:v>
                </c:pt>
                <c:pt idx="215">
                  <c:v>0.12191085512499999</c:v>
                </c:pt>
                <c:pt idx="216">
                  <c:v>0</c:v>
                </c:pt>
                <c:pt idx="219">
                  <c:v>6.0373640385000003E-2</c:v>
                </c:pt>
                <c:pt idx="221">
                  <c:v>0</c:v>
                </c:pt>
                <c:pt idx="223">
                  <c:v>5.9473504849999997E-2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.11818109835100001</c:v>
                </c:pt>
                <c:pt idx="228">
                  <c:v>0</c:v>
                </c:pt>
                <c:pt idx="229">
                  <c:v>5.8765558916000001E-2</c:v>
                </c:pt>
                <c:pt idx="231">
                  <c:v>0</c:v>
                </c:pt>
                <c:pt idx="232">
                  <c:v>0</c:v>
                </c:pt>
                <c:pt idx="233">
                  <c:v>5.8509060420000002E-2</c:v>
                </c:pt>
                <c:pt idx="235">
                  <c:v>5.8272307659000003E-2</c:v>
                </c:pt>
                <c:pt idx="236">
                  <c:v>5.8153025033000003E-2</c:v>
                </c:pt>
                <c:pt idx="237">
                  <c:v>5.8059163448000002E-2</c:v>
                </c:pt>
                <c:pt idx="238">
                  <c:v>5.8028706801000002E-2</c:v>
                </c:pt>
                <c:pt idx="240">
                  <c:v>0</c:v>
                </c:pt>
                <c:pt idx="241">
                  <c:v>5.7789304817000002E-2</c:v>
                </c:pt>
                <c:pt idx="242">
                  <c:v>0</c:v>
                </c:pt>
                <c:pt idx="243">
                  <c:v>0</c:v>
                </c:pt>
                <c:pt idx="246">
                  <c:v>0</c:v>
                </c:pt>
                <c:pt idx="247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.113977584028</c:v>
                </c:pt>
                <c:pt idx="252">
                  <c:v>0</c:v>
                </c:pt>
                <c:pt idx="253">
                  <c:v>0</c:v>
                </c:pt>
                <c:pt idx="254">
                  <c:v>5.6864222451999999E-2</c:v>
                </c:pt>
                <c:pt idx="255">
                  <c:v>0</c:v>
                </c:pt>
                <c:pt idx="256">
                  <c:v>5.6700431773E-2</c:v>
                </c:pt>
                <c:pt idx="257">
                  <c:v>5.6634217148000002E-2</c:v>
                </c:pt>
                <c:pt idx="258">
                  <c:v>5.6583520954000002E-2</c:v>
                </c:pt>
                <c:pt idx="259">
                  <c:v>0</c:v>
                </c:pt>
                <c:pt idx="260">
                  <c:v>0.11313068234199999</c:v>
                </c:pt>
                <c:pt idx="261">
                  <c:v>0.22607734331900001</c:v>
                </c:pt>
                <c:pt idx="262">
                  <c:v>0.16942289479299999</c:v>
                </c:pt>
                <c:pt idx="263">
                  <c:v>5.6438695724000003E-2</c:v>
                </c:pt>
                <c:pt idx="264">
                  <c:v>5.6401929171000002E-2</c:v>
                </c:pt>
                <c:pt idx="265">
                  <c:v>5.6372391507999997E-2</c:v>
                </c:pt>
                <c:pt idx="267">
                  <c:v>0</c:v>
                </c:pt>
                <c:pt idx="268">
                  <c:v>5.6332283862000003E-2</c:v>
                </c:pt>
                <c:pt idx="269">
                  <c:v>0.11260018601500001</c:v>
                </c:pt>
                <c:pt idx="270">
                  <c:v>5.6270440237000001E-2</c:v>
                </c:pt>
                <c:pt idx="271">
                  <c:v>5.6229465701E-2</c:v>
                </c:pt>
                <c:pt idx="273">
                  <c:v>0.11239086846599999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.16831748717700001</c:v>
                </c:pt>
                <c:pt idx="278">
                  <c:v>0.112144019836</c:v>
                </c:pt>
                <c:pt idx="279">
                  <c:v>0</c:v>
                </c:pt>
                <c:pt idx="280">
                  <c:v>5.6033458697999999E-2</c:v>
                </c:pt>
                <c:pt idx="281">
                  <c:v>0.112060826616</c:v>
                </c:pt>
                <c:pt idx="282">
                  <c:v>0.22397971639600001</c:v>
                </c:pt>
                <c:pt idx="283">
                  <c:v>0.22380877778</c:v>
                </c:pt>
                <c:pt idx="284">
                  <c:v>0.39134676398099999</c:v>
                </c:pt>
                <c:pt idx="285">
                  <c:v>5.5863924417999998E-2</c:v>
                </c:pt>
                <c:pt idx="286">
                  <c:v>0.111626204028</c:v>
                </c:pt>
                <c:pt idx="287">
                  <c:v>0.16740996691900001</c:v>
                </c:pt>
                <c:pt idx="288">
                  <c:v>0.27899030062300001</c:v>
                </c:pt>
                <c:pt idx="289">
                  <c:v>0.27873445637299998</c:v>
                </c:pt>
                <c:pt idx="290">
                  <c:v>0.16708502901399999</c:v>
                </c:pt>
                <c:pt idx="291">
                  <c:v>0.22240026599000001</c:v>
                </c:pt>
                <c:pt idx="292">
                  <c:v>0.22201242048399999</c:v>
                </c:pt>
                <c:pt idx="293">
                  <c:v>0.166247169641</c:v>
                </c:pt>
                <c:pt idx="294">
                  <c:v>0.22157203140500001</c:v>
                </c:pt>
                <c:pt idx="295">
                  <c:v>0.27690567872600003</c:v>
                </c:pt>
                <c:pt idx="296">
                  <c:v>0.55217501739300001</c:v>
                </c:pt>
                <c:pt idx="297">
                  <c:v>0.38479276985299998</c:v>
                </c:pt>
                <c:pt idx="298">
                  <c:v>0.43700754712000001</c:v>
                </c:pt>
                <c:pt idx="299">
                  <c:v>0.48811123729599998</c:v>
                </c:pt>
                <c:pt idx="300">
                  <c:v>0.32314301825199998</c:v>
                </c:pt>
                <c:pt idx="301">
                  <c:v>0.26891971186800001</c:v>
                </c:pt>
                <c:pt idx="302">
                  <c:v>0.42984869325899999</c:v>
                </c:pt>
                <c:pt idx="303">
                  <c:v>0.26651130834100001</c:v>
                </c:pt>
                <c:pt idx="304">
                  <c:v>0.47533788601299998</c:v>
                </c:pt>
                <c:pt idx="305">
                  <c:v>0.62760193301300005</c:v>
                </c:pt>
                <c:pt idx="306">
                  <c:v>0.20879899860000001</c:v>
                </c:pt>
                <c:pt idx="307">
                  <c:v>1.088338350918</c:v>
                </c:pt>
                <c:pt idx="308">
                  <c:v>0.31047769062500002</c:v>
                </c:pt>
                <c:pt idx="309">
                  <c:v>0.51672242962799997</c:v>
                </c:pt>
                <c:pt idx="310">
                  <c:v>0.717077193359</c:v>
                </c:pt>
                <c:pt idx="311">
                  <c:v>1.014432843277</c:v>
                </c:pt>
                <c:pt idx="312">
                  <c:v>0.45122190892899999</c:v>
                </c:pt>
                <c:pt idx="313">
                  <c:v>0.64455256400500005</c:v>
                </c:pt>
                <c:pt idx="314">
                  <c:v>0.29465684018799998</c:v>
                </c:pt>
                <c:pt idx="315">
                  <c:v>0.24498539396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F15-40CB-86E0-25C5EA991A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ých </a:t>
                </a:r>
                <a:r>
                  <a:rPr lang="en-US" sz="1800" b="0" i="0" baseline="0" dirty="0" err="1">
                    <a:effectLst/>
                  </a:rPr>
                  <a:t>pacient</a:t>
                </a:r>
                <a:r>
                  <a:rPr lang="cs-CZ" sz="1800" b="0" i="0" baseline="0" dirty="0">
                    <a:effectLst/>
                  </a:rPr>
                  <a:t>ů </a:t>
                </a:r>
                <a:r>
                  <a:rPr lang="en-US" sz="1800" b="0" i="0" baseline="0" dirty="0" err="1">
                    <a:effectLst/>
                  </a:rPr>
                  <a:t>na</a:t>
                </a:r>
                <a:r>
                  <a:rPr lang="en-US" sz="1800" b="0" i="0" baseline="0" dirty="0">
                    <a:effectLst/>
                  </a:rPr>
                  <a:t> JIP</a:t>
                </a:r>
                <a:r>
                  <a:rPr lang="cs-CZ" sz="1800" b="0" i="0" baseline="0" dirty="0">
                    <a:effectLst/>
                  </a:rPr>
                  <a:t> na 100 tis. osob dané kategorie v populaci v daném dni</a:t>
                </a:r>
                <a:endParaRPr lang="cs-CZ" sz="16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19</c:v>
                </c:pt>
                <c:pt idx="22">
                  <c:v>927</c:v>
                </c:pt>
                <c:pt idx="23">
                  <c:v>990</c:v>
                </c:pt>
                <c:pt idx="24">
                  <c:v>1172</c:v>
                </c:pt>
                <c:pt idx="25">
                  <c:v>1293</c:v>
                </c:pt>
                <c:pt idx="26">
                  <c:v>1395</c:v>
                </c:pt>
                <c:pt idx="27">
                  <c:v>1389</c:v>
                </c:pt>
                <c:pt idx="28">
                  <c:v>1577</c:v>
                </c:pt>
                <c:pt idx="29">
                  <c:v>1596</c:v>
                </c:pt>
                <c:pt idx="30">
                  <c:v>1729</c:v>
                </c:pt>
                <c:pt idx="31">
                  <c:v>2101</c:v>
                </c:pt>
                <c:pt idx="32">
                  <c:v>2291</c:v>
                </c:pt>
                <c:pt idx="33">
                  <c:v>2493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49</c:v>
                </c:pt>
                <c:pt idx="38">
                  <c:v>3403</c:v>
                </c:pt>
                <c:pt idx="39">
                  <c:v>3587</c:v>
                </c:pt>
                <c:pt idx="40">
                  <c:v>3727</c:v>
                </c:pt>
                <c:pt idx="41">
                  <c:v>3862</c:v>
                </c:pt>
                <c:pt idx="42">
                  <c:v>4009</c:v>
                </c:pt>
                <c:pt idx="43">
                  <c:v>3892</c:v>
                </c:pt>
                <c:pt idx="44">
                  <c:v>4009</c:v>
                </c:pt>
                <c:pt idx="45">
                  <c:v>4590</c:v>
                </c:pt>
                <c:pt idx="46">
                  <c:v>4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6E-4A76-B74C-E594C511A4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6E-4A76-B74C-E594C511A468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4</c:v>
                </c:pt>
                <c:pt idx="43">
                  <c:v>4000.7649631137347</c:v>
                </c:pt>
                <c:pt idx="44">
                  <c:v>4126.3636197642336</c:v>
                </c:pt>
                <c:pt idx="45">
                  <c:v>4246.8519586359671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25</c:v>
                </c:pt>
                <c:pt idx="50">
                  <c:v>4757.6593438429773</c:v>
                </c:pt>
                <c:pt idx="51">
                  <c:v>4858.1037055510278</c:v>
                </c:pt>
                <c:pt idx="52">
                  <c:v>4955.2698137298621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61</c:v>
                </c:pt>
                <c:pt idx="56">
                  <c:v>5255.5396750814843</c:v>
                </c:pt>
                <c:pt idx="57">
                  <c:v>5325.598673688386</c:v>
                </c:pt>
                <c:pt idx="58">
                  <c:v>5394.5302687169533</c:v>
                </c:pt>
                <c:pt idx="59">
                  <c:v>5461.5112579097104</c:v>
                </c:pt>
                <c:pt idx="60">
                  <c:v>5523.106765469247</c:v>
                </c:pt>
                <c:pt idx="61">
                  <c:v>5579.9682808836278</c:v>
                </c:pt>
                <c:pt idx="62">
                  <c:v>5632.7848342359175</c:v>
                </c:pt>
                <c:pt idx="63">
                  <c:v>5681.9344968879614</c:v>
                </c:pt>
                <c:pt idx="64">
                  <c:v>5726.9117901050686</c:v>
                </c:pt>
                <c:pt idx="65">
                  <c:v>5768.6191703553777</c:v>
                </c:pt>
                <c:pt idx="66">
                  <c:v>5806.3310357463051</c:v>
                </c:pt>
                <c:pt idx="67">
                  <c:v>5840.2229265257083</c:v>
                </c:pt>
                <c:pt idx="68">
                  <c:v>5868.9282885581733</c:v>
                </c:pt>
                <c:pt idx="69">
                  <c:v>5893.066540476213</c:v>
                </c:pt>
                <c:pt idx="70">
                  <c:v>5913.1832379434609</c:v>
                </c:pt>
                <c:pt idx="71">
                  <c:v>5927.2707698645754</c:v>
                </c:pt>
                <c:pt idx="72">
                  <c:v>5936.7406334869083</c:v>
                </c:pt>
                <c:pt idx="73">
                  <c:v>5941.7682210099574</c:v>
                </c:pt>
                <c:pt idx="74">
                  <c:v>5941.4840299436837</c:v>
                </c:pt>
                <c:pt idx="75">
                  <c:v>5936.1953895340221</c:v>
                </c:pt>
                <c:pt idx="76">
                  <c:v>5926.0593653684864</c:v>
                </c:pt>
                <c:pt idx="77">
                  <c:v>5911.4925302807624</c:v>
                </c:pt>
                <c:pt idx="78">
                  <c:v>5891.1145246271153</c:v>
                </c:pt>
                <c:pt idx="79">
                  <c:v>5866.1678405466046</c:v>
                </c:pt>
                <c:pt idx="80">
                  <c:v>5836.6640093508631</c:v>
                </c:pt>
                <c:pt idx="81">
                  <c:v>5801.8842766630696</c:v>
                </c:pt>
                <c:pt idx="82">
                  <c:v>5762.0073052004482</c:v>
                </c:pt>
                <c:pt idx="83">
                  <c:v>5718.2310743467178</c:v>
                </c:pt>
                <c:pt idx="84">
                  <c:v>5670.1237920150879</c:v>
                </c:pt>
                <c:pt idx="85">
                  <c:v>5616.8306867096635</c:v>
                </c:pt>
                <c:pt idx="86">
                  <c:v>5560.449341745787</c:v>
                </c:pt>
                <c:pt idx="87">
                  <c:v>5500.5212514270279</c:v>
                </c:pt>
                <c:pt idx="88">
                  <c:v>5434.9249047022322</c:v>
                </c:pt>
                <c:pt idx="89">
                  <c:v>5366.4713539503809</c:v>
                </c:pt>
                <c:pt idx="90">
                  <c:v>5295.1997817793708</c:v>
                </c:pt>
                <c:pt idx="91">
                  <c:v>5220.5883678919135</c:v>
                </c:pt>
                <c:pt idx="92">
                  <c:v>5141.6385683384124</c:v>
                </c:pt>
                <c:pt idx="93">
                  <c:v>5059.7844572957156</c:v>
                </c:pt>
                <c:pt idx="94">
                  <c:v>4975.6441177210791</c:v>
                </c:pt>
                <c:pt idx="95">
                  <c:v>4888.9152696888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6E-4A76-B74C-E594C511A468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1</c:v>
                </c:pt>
                <c:pt idx="43">
                  <c:v>4021.8651703173618</c:v>
                </c:pt>
                <c:pt idx="44">
                  <c:v>4163.0571947267417</c:v>
                </c:pt>
                <c:pt idx="45">
                  <c:v>4302.6712117083389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81</c:v>
                </c:pt>
                <c:pt idx="49">
                  <c:v>4829.8886898653491</c:v>
                </c:pt>
                <c:pt idx="50">
                  <c:v>4964.6851723175714</c:v>
                </c:pt>
                <c:pt idx="51">
                  <c:v>5106.2691649077651</c:v>
                </c:pt>
                <c:pt idx="52">
                  <c:v>5248.0490617810719</c:v>
                </c:pt>
                <c:pt idx="53">
                  <c:v>5378.5801272190911</c:v>
                </c:pt>
                <c:pt idx="54">
                  <c:v>5504.7041800399766</c:v>
                </c:pt>
                <c:pt idx="55">
                  <c:v>5630.9313152074346</c:v>
                </c:pt>
                <c:pt idx="56">
                  <c:v>5758.5854770970145</c:v>
                </c:pt>
                <c:pt idx="57">
                  <c:v>5887.8355049395113</c:v>
                </c:pt>
                <c:pt idx="58">
                  <c:v>6018.036375473841</c:v>
                </c:pt>
                <c:pt idx="59">
                  <c:v>6148.1174291578545</c:v>
                </c:pt>
                <c:pt idx="60">
                  <c:v>6274.4753812746858</c:v>
                </c:pt>
                <c:pt idx="61">
                  <c:v>6397.4250467610227</c:v>
                </c:pt>
                <c:pt idx="62">
                  <c:v>6517.4063018172365</c:v>
                </c:pt>
                <c:pt idx="63">
                  <c:v>6634.4979616464334</c:v>
                </c:pt>
                <c:pt idx="64">
                  <c:v>6747.8381258254449</c:v>
                </c:pt>
                <c:pt idx="65">
                  <c:v>6858.0152150647627</c:v>
                </c:pt>
                <c:pt idx="66">
                  <c:v>6964.0475227458237</c:v>
                </c:pt>
                <c:pt idx="67">
                  <c:v>7065.8127870876533</c:v>
                </c:pt>
                <c:pt idx="68">
                  <c:v>7161.6785672445494</c:v>
                </c:pt>
                <c:pt idx="69">
                  <c:v>7251.9875202190015</c:v>
                </c:pt>
                <c:pt idx="70">
                  <c:v>7336.997413029294</c:v>
                </c:pt>
                <c:pt idx="71">
                  <c:v>7414.4261695508612</c:v>
                </c:pt>
                <c:pt idx="72">
                  <c:v>7485.4020724328948</c:v>
                </c:pt>
                <c:pt idx="73">
                  <c:v>7549.8552017784714</c:v>
                </c:pt>
                <c:pt idx="74">
                  <c:v>7606.6812658407434</c:v>
                </c:pt>
                <c:pt idx="75">
                  <c:v>7655.9601133157566</c:v>
                </c:pt>
                <c:pt idx="76">
                  <c:v>7697.6356567036783</c:v>
                </c:pt>
                <c:pt idx="77">
                  <c:v>7731.9422521323904</c:v>
                </c:pt>
                <c:pt idx="78">
                  <c:v>7757.3172289474414</c:v>
                </c:pt>
                <c:pt idx="79">
                  <c:v>7774.8523594207973</c:v>
                </c:pt>
                <c:pt idx="80">
                  <c:v>7784.4222024789415</c:v>
                </c:pt>
                <c:pt idx="81">
                  <c:v>7785.1904771195777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68</c:v>
                </c:pt>
                <c:pt idx="85">
                  <c:v>7705.3756244397237</c:v>
                </c:pt>
                <c:pt idx="86">
                  <c:v>7665.8362387460747</c:v>
                </c:pt>
                <c:pt idx="87">
                  <c:v>7618.939138221861</c:v>
                </c:pt>
                <c:pt idx="88">
                  <c:v>7562.5763308956839</c:v>
                </c:pt>
                <c:pt idx="89">
                  <c:v>7499.603342788907</c:v>
                </c:pt>
                <c:pt idx="90">
                  <c:v>7430.1080738058808</c:v>
                </c:pt>
                <c:pt idx="91">
                  <c:v>7353.6387736028446</c:v>
                </c:pt>
                <c:pt idx="92">
                  <c:v>7269.1761846328609</c:v>
                </c:pt>
                <c:pt idx="93">
                  <c:v>7178.3251169050309</c:v>
                </c:pt>
                <c:pt idx="94">
                  <c:v>7081.8141108436248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56E-4A76-B74C-E594C511A468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1</c:v>
                </c:pt>
                <c:pt idx="43">
                  <c:v>4043.1687347470597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</c:v>
                </c:pt>
                <c:pt idx="48">
                  <c:v>4836.9296358195488</c:v>
                </c:pt>
                <c:pt idx="49">
                  <c:v>5005.9629248299834</c:v>
                </c:pt>
                <c:pt idx="50">
                  <c:v>5181.0823628909475</c:v>
                </c:pt>
                <c:pt idx="51">
                  <c:v>5367.2087561997469</c:v>
                </c:pt>
                <c:pt idx="52">
                  <c:v>5557.7622339853688</c:v>
                </c:pt>
                <c:pt idx="53">
                  <c:v>5741.227412579784</c:v>
                </c:pt>
                <c:pt idx="54">
                  <c:v>5924.3916908957708</c:v>
                </c:pt>
                <c:pt idx="55">
                  <c:v>6111.6242528419043</c:v>
                </c:pt>
                <c:pt idx="56">
                  <c:v>6304.0139361848642</c:v>
                </c:pt>
                <c:pt idx="57">
                  <c:v>6501.2446122618303</c:v>
                </c:pt>
                <c:pt idx="58">
                  <c:v>6702.5228306654781</c:v>
                </c:pt>
                <c:pt idx="59">
                  <c:v>6906.5301863113755</c:v>
                </c:pt>
                <c:pt idx="60">
                  <c:v>7109.4791726113908</c:v>
                </c:pt>
                <c:pt idx="61">
                  <c:v>7311.3153925703818</c:v>
                </c:pt>
                <c:pt idx="62">
                  <c:v>7512.1806540221523</c:v>
                </c:pt>
                <c:pt idx="63">
                  <c:v>7711.789297014001</c:v>
                </c:pt>
                <c:pt idx="64">
                  <c:v>7908.8414601342893</c:v>
                </c:pt>
                <c:pt idx="65">
                  <c:v>8103.5161819879359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19</c:v>
                </c:pt>
                <c:pt idx="72">
                  <c:v>9310.7132913458499</c:v>
                </c:pt>
                <c:pt idx="73">
                  <c:v>9451.1919071894808</c:v>
                </c:pt>
                <c:pt idx="74">
                  <c:v>9581.0814534073234</c:v>
                </c:pt>
                <c:pt idx="75">
                  <c:v>9700.0694388859665</c:v>
                </c:pt>
                <c:pt idx="76">
                  <c:v>9807.7261848728922</c:v>
                </c:pt>
                <c:pt idx="77">
                  <c:v>9903.950113379924</c:v>
                </c:pt>
                <c:pt idx="78">
                  <c:v>9986.8513187595854</c:v>
                </c:pt>
                <c:pt idx="79">
                  <c:v>10057.23677196085</c:v>
                </c:pt>
                <c:pt idx="80">
                  <c:v>10114.722469341128</c:v>
                </c:pt>
                <c:pt idx="81">
                  <c:v>10158.247083233071</c:v>
                </c:pt>
                <c:pt idx="82">
                  <c:v>10187.686256884104</c:v>
                </c:pt>
                <c:pt idx="83">
                  <c:v>10204.017835551909</c:v>
                </c:pt>
                <c:pt idx="84">
                  <c:v>10206.638131698184</c:v>
                </c:pt>
                <c:pt idx="85">
                  <c:v>10194.579248587939</c:v>
                </c:pt>
                <c:pt idx="86">
                  <c:v>10169.884223290055</c:v>
                </c:pt>
                <c:pt idx="87">
                  <c:v>10132.096963673483</c:v>
                </c:pt>
                <c:pt idx="88">
                  <c:v>10079.137980044037</c:v>
                </c:pt>
                <c:pt idx="89">
                  <c:v>10013.939924979448</c:v>
                </c:pt>
                <c:pt idx="90">
                  <c:v>9936.6889466502071</c:v>
                </c:pt>
                <c:pt idx="91">
                  <c:v>9847.0688784891008</c:v>
                </c:pt>
                <c:pt idx="92">
                  <c:v>9744.119440610757</c:v>
                </c:pt>
                <c:pt idx="93">
                  <c:v>9629.7096549604648</c:v>
                </c:pt>
                <c:pt idx="94">
                  <c:v>9504.7837788229663</c:v>
                </c:pt>
                <c:pt idx="95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56E-4A76-B74C-E594C511A468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56E-4A76-B74C-E594C511A4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0312831999110914E-2"/>
          <c:y val="3.1245288723291253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2</c:v>
                </c:pt>
                <c:pt idx="22">
                  <c:v>150</c:v>
                </c:pt>
                <c:pt idx="23">
                  <c:v>162</c:v>
                </c:pt>
                <c:pt idx="24">
                  <c:v>170</c:v>
                </c:pt>
                <c:pt idx="25">
                  <c:v>192</c:v>
                </c:pt>
                <c:pt idx="26">
                  <c:v>215</c:v>
                </c:pt>
                <c:pt idx="27">
                  <c:v>209</c:v>
                </c:pt>
                <c:pt idx="28">
                  <c:v>236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7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0</c:v>
                </c:pt>
                <c:pt idx="39">
                  <c:v>485</c:v>
                </c:pt>
                <c:pt idx="40">
                  <c:v>509</c:v>
                </c:pt>
                <c:pt idx="41">
                  <c:v>517</c:v>
                </c:pt>
                <c:pt idx="42">
                  <c:v>526</c:v>
                </c:pt>
                <c:pt idx="43">
                  <c:v>553</c:v>
                </c:pt>
                <c:pt idx="44">
                  <c:v>593</c:v>
                </c:pt>
                <c:pt idx="45">
                  <c:v>634</c:v>
                </c:pt>
                <c:pt idx="46">
                  <c:v>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34-417C-A836-04015F5B39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234-417C-A836-04015F5B3963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49</c:v>
                </c:pt>
                <c:pt idx="65">
                  <c:v>976.23302503778325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12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5</c:v>
                </c:pt>
                <c:pt idx="72">
                  <c:v>1016.4748329969786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3</c:v>
                </c:pt>
                <c:pt idx="76">
                  <c:v>1020.0732762357501</c:v>
                </c:pt>
                <c:pt idx="77">
                  <c:v>1018.8275369639042</c:v>
                </c:pt>
                <c:pt idx="78">
                  <c:v>1016.7053489876225</c:v>
                </c:pt>
                <c:pt idx="79">
                  <c:v>1013.6836793699539</c:v>
                </c:pt>
                <c:pt idx="80">
                  <c:v>1009.8145291756862</c:v>
                </c:pt>
                <c:pt idx="81">
                  <c:v>1005.1240476885005</c:v>
                </c:pt>
                <c:pt idx="82">
                  <c:v>999.62215682422038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6</c:v>
                </c:pt>
                <c:pt idx="86">
                  <c:v>969.78903810151735</c:v>
                </c:pt>
                <c:pt idx="87">
                  <c:v>960.5030380806902</c:v>
                </c:pt>
                <c:pt idx="88">
                  <c:v>950.54002594936969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234-417C-A836-04015F5B3963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73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4</c:v>
                </c:pt>
                <c:pt idx="62">
                  <c:v>1084.6898012894039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34-417C-A836-04015F5B3963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09</c:v>
                </c:pt>
                <c:pt idx="56">
                  <c:v>1016.0577294254426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234-417C-A836-04015F5B3963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234-417C-A836-04015F5B39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B$244:$B$462</c:f>
              <c:numCache>
                <c:formatCode>0</c:formatCode>
                <c:ptCount val="219"/>
                <c:pt idx="0">
                  <c:v>1172</c:v>
                </c:pt>
                <c:pt idx="1">
                  <c:v>510</c:v>
                </c:pt>
                <c:pt idx="2">
                  <c:v>2221</c:v>
                </c:pt>
                <c:pt idx="3">
                  <c:v>2418</c:v>
                </c:pt>
                <c:pt idx="4">
                  <c:v>1873</c:v>
                </c:pt>
                <c:pt idx="5">
                  <c:v>1577</c:v>
                </c:pt>
                <c:pt idx="6">
                  <c:v>1638</c:v>
                </c:pt>
                <c:pt idx="7">
                  <c:v>729</c:v>
                </c:pt>
                <c:pt idx="8">
                  <c:v>385</c:v>
                </c:pt>
                <c:pt idx="9">
                  <c:v>1545</c:v>
                </c:pt>
                <c:pt idx="10">
                  <c:v>1691</c:v>
                </c:pt>
                <c:pt idx="11">
                  <c:v>1265</c:v>
                </c:pt>
                <c:pt idx="12">
                  <c:v>1224</c:v>
                </c:pt>
                <c:pt idx="13">
                  <c:v>1053</c:v>
                </c:pt>
                <c:pt idx="14">
                  <c:v>597</c:v>
                </c:pt>
                <c:pt idx="15">
                  <c:v>257</c:v>
                </c:pt>
                <c:pt idx="16">
                  <c:v>1134</c:v>
                </c:pt>
                <c:pt idx="17">
                  <c:v>1201</c:v>
                </c:pt>
                <c:pt idx="18">
                  <c:v>780</c:v>
                </c:pt>
                <c:pt idx="19">
                  <c:v>678</c:v>
                </c:pt>
                <c:pt idx="20">
                  <c:v>673</c:v>
                </c:pt>
                <c:pt idx="21">
                  <c:v>336</c:v>
                </c:pt>
                <c:pt idx="22">
                  <c:v>198</c:v>
                </c:pt>
                <c:pt idx="23">
                  <c:v>697</c:v>
                </c:pt>
                <c:pt idx="24">
                  <c:v>661</c:v>
                </c:pt>
                <c:pt idx="25">
                  <c:v>540</c:v>
                </c:pt>
                <c:pt idx="26">
                  <c:v>507</c:v>
                </c:pt>
                <c:pt idx="27">
                  <c:v>455</c:v>
                </c:pt>
                <c:pt idx="28">
                  <c:v>222</c:v>
                </c:pt>
                <c:pt idx="29">
                  <c:v>113</c:v>
                </c:pt>
                <c:pt idx="30">
                  <c:v>515</c:v>
                </c:pt>
                <c:pt idx="31">
                  <c:v>480</c:v>
                </c:pt>
                <c:pt idx="32">
                  <c:v>353</c:v>
                </c:pt>
                <c:pt idx="33">
                  <c:v>428</c:v>
                </c:pt>
                <c:pt idx="34">
                  <c:v>323</c:v>
                </c:pt>
                <c:pt idx="35">
                  <c:v>153</c:v>
                </c:pt>
                <c:pt idx="36">
                  <c:v>98</c:v>
                </c:pt>
                <c:pt idx="37">
                  <c:v>297</c:v>
                </c:pt>
                <c:pt idx="38">
                  <c:v>385</c:v>
                </c:pt>
                <c:pt idx="39">
                  <c:v>251</c:v>
                </c:pt>
                <c:pt idx="40">
                  <c:v>190</c:v>
                </c:pt>
                <c:pt idx="41">
                  <c:v>180</c:v>
                </c:pt>
                <c:pt idx="42">
                  <c:v>73</c:v>
                </c:pt>
                <c:pt idx="43">
                  <c:v>41</c:v>
                </c:pt>
                <c:pt idx="44">
                  <c:v>175</c:v>
                </c:pt>
                <c:pt idx="45">
                  <c:v>209</c:v>
                </c:pt>
                <c:pt idx="46">
                  <c:v>129</c:v>
                </c:pt>
                <c:pt idx="47">
                  <c:v>158</c:v>
                </c:pt>
                <c:pt idx="48">
                  <c:v>144</c:v>
                </c:pt>
                <c:pt idx="49">
                  <c:v>63</c:v>
                </c:pt>
                <c:pt idx="50">
                  <c:v>57</c:v>
                </c:pt>
                <c:pt idx="51">
                  <c:v>119</c:v>
                </c:pt>
                <c:pt idx="52">
                  <c:v>112</c:v>
                </c:pt>
                <c:pt idx="53">
                  <c:v>106</c:v>
                </c:pt>
                <c:pt idx="54">
                  <c:v>97</c:v>
                </c:pt>
                <c:pt idx="55">
                  <c:v>132</c:v>
                </c:pt>
                <c:pt idx="56">
                  <c:v>68</c:v>
                </c:pt>
                <c:pt idx="57">
                  <c:v>58</c:v>
                </c:pt>
                <c:pt idx="58">
                  <c:v>152</c:v>
                </c:pt>
                <c:pt idx="59">
                  <c:v>156</c:v>
                </c:pt>
                <c:pt idx="60">
                  <c:v>137</c:v>
                </c:pt>
                <c:pt idx="61">
                  <c:v>167</c:v>
                </c:pt>
                <c:pt idx="62">
                  <c:v>164</c:v>
                </c:pt>
                <c:pt idx="63">
                  <c:v>126</c:v>
                </c:pt>
                <c:pt idx="64">
                  <c:v>108</c:v>
                </c:pt>
                <c:pt idx="65">
                  <c:v>130</c:v>
                </c:pt>
                <c:pt idx="66">
                  <c:v>110</c:v>
                </c:pt>
                <c:pt idx="67">
                  <c:v>280</c:v>
                </c:pt>
                <c:pt idx="68">
                  <c:v>249</c:v>
                </c:pt>
                <c:pt idx="69">
                  <c:v>285</c:v>
                </c:pt>
                <c:pt idx="70">
                  <c:v>157</c:v>
                </c:pt>
                <c:pt idx="71">
                  <c:v>148</c:v>
                </c:pt>
                <c:pt idx="72">
                  <c:v>245</c:v>
                </c:pt>
                <c:pt idx="73">
                  <c:v>322</c:v>
                </c:pt>
                <c:pt idx="74">
                  <c:v>262</c:v>
                </c:pt>
                <c:pt idx="75">
                  <c:v>226</c:v>
                </c:pt>
                <c:pt idx="76">
                  <c:v>242</c:v>
                </c:pt>
                <c:pt idx="77">
                  <c:v>197</c:v>
                </c:pt>
                <c:pt idx="78">
                  <c:v>116</c:v>
                </c:pt>
                <c:pt idx="79">
                  <c:v>219</c:v>
                </c:pt>
                <c:pt idx="80">
                  <c:v>300</c:v>
                </c:pt>
                <c:pt idx="81">
                  <c:v>232</c:v>
                </c:pt>
                <c:pt idx="82">
                  <c:v>197</c:v>
                </c:pt>
                <c:pt idx="83">
                  <c:v>189</c:v>
                </c:pt>
                <c:pt idx="84">
                  <c:v>125</c:v>
                </c:pt>
                <c:pt idx="85">
                  <c:v>81</c:v>
                </c:pt>
                <c:pt idx="86">
                  <c:v>198</c:v>
                </c:pt>
                <c:pt idx="87">
                  <c:v>254</c:v>
                </c:pt>
                <c:pt idx="88">
                  <c:v>192</c:v>
                </c:pt>
                <c:pt idx="89">
                  <c:v>205</c:v>
                </c:pt>
                <c:pt idx="90">
                  <c:v>138</c:v>
                </c:pt>
                <c:pt idx="91">
                  <c:v>115</c:v>
                </c:pt>
                <c:pt idx="92">
                  <c:v>77</c:v>
                </c:pt>
                <c:pt idx="93">
                  <c:v>152</c:v>
                </c:pt>
                <c:pt idx="94">
                  <c:v>238</c:v>
                </c:pt>
                <c:pt idx="95">
                  <c:v>208</c:v>
                </c:pt>
                <c:pt idx="96">
                  <c:v>164</c:v>
                </c:pt>
                <c:pt idx="97">
                  <c:v>174</c:v>
                </c:pt>
                <c:pt idx="98">
                  <c:v>154</c:v>
                </c:pt>
                <c:pt idx="99">
                  <c:v>106</c:v>
                </c:pt>
                <c:pt idx="100">
                  <c:v>170</c:v>
                </c:pt>
                <c:pt idx="101">
                  <c:v>260</c:v>
                </c:pt>
                <c:pt idx="102">
                  <c:v>219</c:v>
                </c:pt>
                <c:pt idx="103">
                  <c:v>190</c:v>
                </c:pt>
                <c:pt idx="104">
                  <c:v>219</c:v>
                </c:pt>
                <c:pt idx="105">
                  <c:v>142</c:v>
                </c:pt>
                <c:pt idx="106">
                  <c:v>77</c:v>
                </c:pt>
                <c:pt idx="107">
                  <c:v>215</c:v>
                </c:pt>
                <c:pt idx="108">
                  <c:v>300</c:v>
                </c:pt>
                <c:pt idx="109">
                  <c:v>208</c:v>
                </c:pt>
                <c:pt idx="110">
                  <c:v>165</c:v>
                </c:pt>
                <c:pt idx="111">
                  <c:v>170</c:v>
                </c:pt>
                <c:pt idx="112">
                  <c:v>134</c:v>
                </c:pt>
                <c:pt idx="113">
                  <c:v>107</c:v>
                </c:pt>
                <c:pt idx="114">
                  <c:v>211</c:v>
                </c:pt>
                <c:pt idx="115">
                  <c:v>248</c:v>
                </c:pt>
                <c:pt idx="116">
                  <c:v>247</c:v>
                </c:pt>
                <c:pt idx="117">
                  <c:v>211</c:v>
                </c:pt>
                <c:pt idx="118">
                  <c:v>182</c:v>
                </c:pt>
                <c:pt idx="119">
                  <c:v>133</c:v>
                </c:pt>
                <c:pt idx="120">
                  <c:v>81</c:v>
                </c:pt>
                <c:pt idx="121">
                  <c:v>241</c:v>
                </c:pt>
                <c:pt idx="122">
                  <c:v>292</c:v>
                </c:pt>
                <c:pt idx="123">
                  <c:v>262</c:v>
                </c:pt>
                <c:pt idx="124">
                  <c:v>305</c:v>
                </c:pt>
                <c:pt idx="125">
                  <c:v>307</c:v>
                </c:pt>
                <c:pt idx="126">
                  <c:v>206</c:v>
                </c:pt>
                <c:pt idx="127">
                  <c:v>140</c:v>
                </c:pt>
                <c:pt idx="128">
                  <c:v>392</c:v>
                </c:pt>
                <c:pt idx="129">
                  <c:v>583</c:v>
                </c:pt>
                <c:pt idx="130">
                  <c:v>381</c:v>
                </c:pt>
                <c:pt idx="131">
                  <c:v>418</c:v>
                </c:pt>
                <c:pt idx="132">
                  <c:v>444</c:v>
                </c:pt>
                <c:pt idx="133">
                  <c:v>250</c:v>
                </c:pt>
                <c:pt idx="134">
                  <c:v>136</c:v>
                </c:pt>
                <c:pt idx="135">
                  <c:v>492</c:v>
                </c:pt>
                <c:pt idx="136">
                  <c:v>555</c:v>
                </c:pt>
                <c:pt idx="137">
                  <c:v>523</c:v>
                </c:pt>
                <c:pt idx="138">
                  <c:v>555</c:v>
                </c:pt>
                <c:pt idx="139">
                  <c:v>442</c:v>
                </c:pt>
                <c:pt idx="140">
                  <c:v>301</c:v>
                </c:pt>
                <c:pt idx="141">
                  <c:v>187</c:v>
                </c:pt>
                <c:pt idx="142">
                  <c:v>481</c:v>
                </c:pt>
                <c:pt idx="143">
                  <c:v>596</c:v>
                </c:pt>
                <c:pt idx="144">
                  <c:v>523</c:v>
                </c:pt>
                <c:pt idx="145">
                  <c:v>483</c:v>
                </c:pt>
                <c:pt idx="146">
                  <c:v>506</c:v>
                </c:pt>
                <c:pt idx="147">
                  <c:v>414</c:v>
                </c:pt>
                <c:pt idx="148">
                  <c:v>249</c:v>
                </c:pt>
                <c:pt idx="149">
                  <c:v>671</c:v>
                </c:pt>
                <c:pt idx="150">
                  <c:v>473</c:v>
                </c:pt>
                <c:pt idx="151">
                  <c:v>732</c:v>
                </c:pt>
                <c:pt idx="152">
                  <c:v>920</c:v>
                </c:pt>
                <c:pt idx="153">
                  <c:v>827</c:v>
                </c:pt>
                <c:pt idx="154">
                  <c:v>552</c:v>
                </c:pt>
                <c:pt idx="155">
                  <c:v>318</c:v>
                </c:pt>
                <c:pt idx="156">
                  <c:v>802</c:v>
                </c:pt>
                <c:pt idx="157">
                  <c:v>1110</c:v>
                </c:pt>
                <c:pt idx="158">
                  <c:v>1048</c:v>
                </c:pt>
                <c:pt idx="159">
                  <c:v>989</c:v>
                </c:pt>
                <c:pt idx="160">
                  <c:v>1017</c:v>
                </c:pt>
                <c:pt idx="161">
                  <c:v>666</c:v>
                </c:pt>
                <c:pt idx="162">
                  <c:v>336</c:v>
                </c:pt>
                <c:pt idx="163">
                  <c:v>1343</c:v>
                </c:pt>
                <c:pt idx="164">
                  <c:v>1507</c:v>
                </c:pt>
                <c:pt idx="165">
                  <c:v>1499</c:v>
                </c:pt>
                <c:pt idx="166">
                  <c:v>1540</c:v>
                </c:pt>
                <c:pt idx="167">
                  <c:v>1783</c:v>
                </c:pt>
                <c:pt idx="168">
                  <c:v>1158</c:v>
                </c:pt>
                <c:pt idx="169">
                  <c:v>795</c:v>
                </c:pt>
                <c:pt idx="170">
                  <c:v>2529</c:v>
                </c:pt>
                <c:pt idx="171">
                  <c:v>3249</c:v>
                </c:pt>
                <c:pt idx="172">
                  <c:v>3278</c:v>
                </c:pt>
                <c:pt idx="173">
                  <c:v>3643</c:v>
                </c:pt>
                <c:pt idx="174">
                  <c:v>4236</c:v>
                </c:pt>
                <c:pt idx="175">
                  <c:v>2756</c:v>
                </c:pt>
                <c:pt idx="176">
                  <c:v>1837</c:v>
                </c:pt>
                <c:pt idx="177">
                  <c:v>4282</c:v>
                </c:pt>
                <c:pt idx="178">
                  <c:v>6287</c:v>
                </c:pt>
                <c:pt idx="179">
                  <c:v>5845</c:v>
                </c:pt>
                <c:pt idx="180">
                  <c:v>4353</c:v>
                </c:pt>
                <c:pt idx="181">
                  <c:v>5746</c:v>
                </c:pt>
                <c:pt idx="182">
                  <c:v>5057</c:v>
                </c:pt>
                <c:pt idx="183">
                  <c:v>2772</c:v>
                </c:pt>
                <c:pt idx="184">
                  <c:v>7597</c:v>
                </c:pt>
                <c:pt idx="185">
                  <c:v>9909</c:v>
                </c:pt>
                <c:pt idx="186">
                  <c:v>9466</c:v>
                </c:pt>
                <c:pt idx="187">
                  <c:v>8439</c:v>
                </c:pt>
                <c:pt idx="188">
                  <c:v>9240</c:v>
                </c:pt>
                <c:pt idx="189">
                  <c:v>5738</c:v>
                </c:pt>
                <c:pt idx="190">
                  <c:v>3006</c:v>
                </c:pt>
                <c:pt idx="191">
                  <c:v>9263</c:v>
                </c:pt>
                <c:pt idx="192">
                  <c:v>14558</c:v>
                </c:pt>
                <c:pt idx="193">
                  <c:v>13514</c:v>
                </c:pt>
                <c:pt idx="194">
                  <c:v>10414</c:v>
                </c:pt>
                <c:pt idx="195">
                  <c:v>14230</c:v>
                </c:pt>
                <c:pt idx="196">
                  <c:v>9170</c:v>
                </c:pt>
                <c:pt idx="197">
                  <c:v>5662</c:v>
                </c:pt>
                <c:pt idx="198">
                  <c:v>11553</c:v>
                </c:pt>
                <c:pt idx="199">
                  <c:v>22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5B-44FD-BABB-7344EE2BF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C$244:$C$462</c:f>
              <c:numCache>
                <c:formatCode>General</c:formatCode>
                <c:ptCount val="21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5B-44FD-BABB-7344EE2BF81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D$244:$D$462</c:f>
              <c:numCache>
                <c:formatCode>General</c:formatCode>
                <c:ptCount val="219"/>
                <c:pt idx="195" formatCode="#,##0">
                  <c:v>12713</c:v>
                </c:pt>
                <c:pt idx="196" formatCode="#,##0">
                  <c:v>12748</c:v>
                </c:pt>
                <c:pt idx="197" formatCode="#,##0">
                  <c:v>13101</c:v>
                </c:pt>
                <c:pt idx="198" formatCode="#,##0">
                  <c:v>13656</c:v>
                </c:pt>
                <c:pt idx="199" formatCode="#,##0">
                  <c:v>13996</c:v>
                </c:pt>
                <c:pt idx="200" formatCode="#,##0">
                  <c:v>14212</c:v>
                </c:pt>
                <c:pt idx="201" formatCode="#,##0">
                  <c:v>14355</c:v>
                </c:pt>
                <c:pt idx="202" formatCode="#,##0">
                  <c:v>14459</c:v>
                </c:pt>
                <c:pt idx="203" formatCode="#,##0">
                  <c:v>14798</c:v>
                </c:pt>
                <c:pt idx="204" formatCode="#,##0">
                  <c:v>15193</c:v>
                </c:pt>
                <c:pt idx="205" formatCode="#,##0">
                  <c:v>15533</c:v>
                </c:pt>
                <c:pt idx="206" formatCode="#,##0">
                  <c:v>15751</c:v>
                </c:pt>
                <c:pt idx="207" formatCode="#,##0">
                  <c:v>15970</c:v>
                </c:pt>
                <c:pt idx="208" formatCode="#,##0">
                  <c:v>16238</c:v>
                </c:pt>
                <c:pt idx="209" formatCode="#,##0">
                  <c:v>16562</c:v>
                </c:pt>
                <c:pt idx="210" formatCode="#,##0">
                  <c:v>16916</c:v>
                </c:pt>
                <c:pt idx="211" formatCode="#,##0">
                  <c:v>17238</c:v>
                </c:pt>
                <c:pt idx="212" formatCode="#,##0">
                  <c:v>17526</c:v>
                </c:pt>
                <c:pt idx="213" formatCode="#,##0">
                  <c:v>17809</c:v>
                </c:pt>
                <c:pt idx="214" formatCode="#,##0">
                  <c:v>18129</c:v>
                </c:pt>
                <c:pt idx="215" formatCode="#,##0">
                  <c:v>18479</c:v>
                </c:pt>
                <c:pt idx="216" formatCode="#,##0">
                  <c:v>18832</c:v>
                </c:pt>
                <c:pt idx="217" formatCode="#,##0">
                  <c:v>19175</c:v>
                </c:pt>
                <c:pt idx="218" formatCode="#,##0">
                  <c:v>19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5B-44FD-BABB-7344EE2BF81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E$244:$E$462</c:f>
              <c:numCache>
                <c:formatCode>General</c:formatCode>
                <c:ptCount val="219"/>
                <c:pt idx="195" formatCode="#,##0">
                  <c:v>13172</c:v>
                </c:pt>
                <c:pt idx="196" formatCode="#,##0">
                  <c:v>13502</c:v>
                </c:pt>
                <c:pt idx="197" formatCode="#,##0">
                  <c:v>14054</c:v>
                </c:pt>
                <c:pt idx="198" formatCode="#,##0">
                  <c:v>14758</c:v>
                </c:pt>
                <c:pt idx="199" formatCode="#,##0">
                  <c:v>15323</c:v>
                </c:pt>
                <c:pt idx="200" formatCode="#,##0">
                  <c:v>15816</c:v>
                </c:pt>
                <c:pt idx="201" formatCode="#,##0">
                  <c:v>16278</c:v>
                </c:pt>
                <c:pt idx="202" formatCode="#,##0">
                  <c:v>16733</c:v>
                </c:pt>
                <c:pt idx="203" formatCode="#,##0">
                  <c:v>17370</c:v>
                </c:pt>
                <c:pt idx="204" formatCode="#,##0">
                  <c:v>18058</c:v>
                </c:pt>
                <c:pt idx="205" formatCode="#,##0">
                  <c:v>18722</c:v>
                </c:pt>
                <c:pt idx="206" formatCode="#,##0">
                  <c:v>19314</c:v>
                </c:pt>
                <c:pt idx="207" formatCode="#,##0">
                  <c:v>19927</c:v>
                </c:pt>
                <c:pt idx="208" formatCode="#,##0">
                  <c:v>20598</c:v>
                </c:pt>
                <c:pt idx="209" formatCode="#,##0">
                  <c:v>21331</c:v>
                </c:pt>
                <c:pt idx="210" formatCode="#,##0">
                  <c:v>22105</c:v>
                </c:pt>
                <c:pt idx="211" formatCode="#,##0">
                  <c:v>22873</c:v>
                </c:pt>
                <c:pt idx="212" formatCode="#,##0">
                  <c:v>23635</c:v>
                </c:pt>
                <c:pt idx="213" formatCode="#,##0">
                  <c:v>24417</c:v>
                </c:pt>
                <c:pt idx="214" formatCode="#,##0">
                  <c:v>25254</c:v>
                </c:pt>
                <c:pt idx="215" formatCode="#,##0">
                  <c:v>26138</c:v>
                </c:pt>
                <c:pt idx="216" formatCode="#,##0">
                  <c:v>27049</c:v>
                </c:pt>
                <c:pt idx="217" formatCode="#,##0">
                  <c:v>27974</c:v>
                </c:pt>
                <c:pt idx="218" formatCode="#,##0">
                  <c:v>289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5B-44FD-BABB-7344EE2BF81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F$244:$F$462</c:f>
              <c:numCache>
                <c:formatCode>General</c:formatCode>
                <c:ptCount val="219"/>
                <c:pt idx="195" formatCode="#,##0">
                  <c:v>13632</c:v>
                </c:pt>
                <c:pt idx="196" formatCode="#,##0">
                  <c:v>14255</c:v>
                </c:pt>
                <c:pt idx="197" formatCode="#,##0">
                  <c:v>15009</c:v>
                </c:pt>
                <c:pt idx="198" formatCode="#,##0">
                  <c:v>15860</c:v>
                </c:pt>
                <c:pt idx="199" formatCode="#,##0">
                  <c:v>16673</c:v>
                </c:pt>
                <c:pt idx="200" formatCode="#,##0">
                  <c:v>17483</c:v>
                </c:pt>
                <c:pt idx="201" formatCode="#,##0">
                  <c:v>18310</c:v>
                </c:pt>
                <c:pt idx="202" formatCode="#,##0">
                  <c:v>19171</c:v>
                </c:pt>
                <c:pt idx="203" formatCode="#,##0">
                  <c:v>20155</c:v>
                </c:pt>
                <c:pt idx="204" formatCode="#,##0">
                  <c:v>21202</c:v>
                </c:pt>
                <c:pt idx="205" formatCode="#,##0">
                  <c:v>22274</c:v>
                </c:pt>
                <c:pt idx="206" formatCode="#,##0">
                  <c:v>23350</c:v>
                </c:pt>
                <c:pt idx="207" formatCode="#,##0">
                  <c:v>24480</c:v>
                </c:pt>
                <c:pt idx="208" formatCode="#,##0">
                  <c:v>25689</c:v>
                </c:pt>
                <c:pt idx="209" formatCode="#,##0">
                  <c:v>26976</c:v>
                </c:pt>
                <c:pt idx="210" formatCode="#,##0">
                  <c:v>28334</c:v>
                </c:pt>
                <c:pt idx="211" formatCode="#,##0">
                  <c:v>29740</c:v>
                </c:pt>
                <c:pt idx="212" formatCode="#,##0">
                  <c:v>31198</c:v>
                </c:pt>
                <c:pt idx="213" formatCode="#,##0">
                  <c:v>32727</c:v>
                </c:pt>
                <c:pt idx="214" formatCode="#,##0">
                  <c:v>34347</c:v>
                </c:pt>
                <c:pt idx="215" formatCode="#,##0">
                  <c:v>36056</c:v>
                </c:pt>
                <c:pt idx="216" formatCode="#,##0">
                  <c:v>37846</c:v>
                </c:pt>
                <c:pt idx="217" formatCode="#,##0">
                  <c:v>39716</c:v>
                </c:pt>
                <c:pt idx="218" formatCode="#,##0">
                  <c:v>41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5B-44FD-BABB-7344EE2BF81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62</c:f>
              <c:numCache>
                <c:formatCode>m/d/yyyy</c:formatCode>
                <c:ptCount val="21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</c:numCache>
            </c:numRef>
          </c:cat>
          <c:val>
            <c:numRef>
              <c:f>Sheet1!$G$244:$G$462</c:f>
              <c:numCache>
                <c:formatCode>General</c:formatCode>
                <c:ptCount val="219"/>
                <c:pt idx="195" formatCode="#,##0">
                  <c:v>14091</c:v>
                </c:pt>
                <c:pt idx="196" formatCode="#,##0">
                  <c:v>15009</c:v>
                </c:pt>
                <c:pt idx="197" formatCode="#,##0">
                  <c:v>15962</c:v>
                </c:pt>
                <c:pt idx="198" formatCode="#,##0">
                  <c:v>16962</c:v>
                </c:pt>
                <c:pt idx="199" formatCode="#,##0">
                  <c:v>18046</c:v>
                </c:pt>
                <c:pt idx="200" formatCode="#,##0">
                  <c:v>19209</c:v>
                </c:pt>
                <c:pt idx="201" formatCode="#,##0">
                  <c:v>20450</c:v>
                </c:pt>
                <c:pt idx="202" formatCode="#,##0">
                  <c:v>21772</c:v>
                </c:pt>
                <c:pt idx="203" formatCode="#,##0">
                  <c:v>23157</c:v>
                </c:pt>
                <c:pt idx="204" formatCode="#,##0">
                  <c:v>24628</c:v>
                </c:pt>
                <c:pt idx="205" formatCode="#,##0">
                  <c:v>26198</c:v>
                </c:pt>
                <c:pt idx="206" formatCode="#,##0">
                  <c:v>27883</c:v>
                </c:pt>
                <c:pt idx="207" formatCode="#,##0">
                  <c:v>29671</c:v>
                </c:pt>
                <c:pt idx="208" formatCode="#,##0">
                  <c:v>31568</c:v>
                </c:pt>
                <c:pt idx="209" formatCode="#,##0">
                  <c:v>33580</c:v>
                </c:pt>
                <c:pt idx="210" formatCode="#,##0">
                  <c:v>35719</c:v>
                </c:pt>
                <c:pt idx="211" formatCode="#,##0">
                  <c:v>37999</c:v>
                </c:pt>
                <c:pt idx="212" formatCode="#,##0">
                  <c:v>40428</c:v>
                </c:pt>
                <c:pt idx="213" formatCode="#,##0">
                  <c:v>43011</c:v>
                </c:pt>
                <c:pt idx="214" formatCode="#,##0">
                  <c:v>45755</c:v>
                </c:pt>
                <c:pt idx="215" formatCode="#,##0">
                  <c:v>48669</c:v>
                </c:pt>
                <c:pt idx="216" formatCode="#,##0">
                  <c:v>51770</c:v>
                </c:pt>
                <c:pt idx="217" formatCode="#,##0">
                  <c:v>55071</c:v>
                </c:pt>
                <c:pt idx="218" formatCode="#,##0">
                  <c:v>58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0A-4FB6-B884-CAA887A0F9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General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General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6.46289490053848</c:v>
                </c:pt>
                <c:pt idx="1">
                  <c:v>24.715521543758573</c:v>
                </c:pt>
                <c:pt idx="2">
                  <c:v>23.977326382338184</c:v>
                </c:pt>
                <c:pt idx="3">
                  <c:v>22.743886365787663</c:v>
                </c:pt>
                <c:pt idx="4">
                  <c:v>22.099133629863527</c:v>
                </c:pt>
                <c:pt idx="5">
                  <c:v>21.958969991619149</c:v>
                </c:pt>
                <c:pt idx="6">
                  <c:v>19.92192511580086</c:v>
                </c:pt>
                <c:pt idx="7">
                  <c:v>19.03422207358647</c:v>
                </c:pt>
                <c:pt idx="8">
                  <c:v>18.081109333524704</c:v>
                </c:pt>
                <c:pt idx="9">
                  <c:v>15.857179606713913</c:v>
                </c:pt>
                <c:pt idx="10">
                  <c:v>14.520952922117514</c:v>
                </c:pt>
                <c:pt idx="11">
                  <c:v>13.7734135181475</c:v>
                </c:pt>
                <c:pt idx="12">
                  <c:v>13.240791692818865</c:v>
                </c:pt>
                <c:pt idx="13">
                  <c:v>12.100794101764594</c:v>
                </c:pt>
                <c:pt idx="14">
                  <c:v>10.456207413030565</c:v>
                </c:pt>
                <c:pt idx="15">
                  <c:v>9.3162098219762939</c:v>
                </c:pt>
                <c:pt idx="16">
                  <c:v>9.0171940603882881</c:v>
                </c:pt>
                <c:pt idx="17">
                  <c:v>8.6808013286017829</c:v>
                </c:pt>
                <c:pt idx="18">
                  <c:v>8.58735890310553</c:v>
                </c:pt>
                <c:pt idx="19">
                  <c:v>8.7368667838995329</c:v>
                </c:pt>
                <c:pt idx="20">
                  <c:v>8.2135892011205236</c:v>
                </c:pt>
                <c:pt idx="21">
                  <c:v>7.3071976738068818</c:v>
                </c:pt>
                <c:pt idx="22">
                  <c:v>7.0922800951655036</c:v>
                </c:pt>
                <c:pt idx="23">
                  <c:v>6.5222812996383679</c:v>
                </c:pt>
                <c:pt idx="24">
                  <c:v>6.4101503890428662</c:v>
                </c:pt>
                <c:pt idx="25">
                  <c:v>6.4568716017909917</c:v>
                </c:pt>
                <c:pt idx="26">
                  <c:v>6.4662158443406179</c:v>
                </c:pt>
                <c:pt idx="27">
                  <c:v>6.7745758484782481</c:v>
                </c:pt>
                <c:pt idx="28">
                  <c:v>7.1857225206617557</c:v>
                </c:pt>
                <c:pt idx="29">
                  <c:v>7.4753940397001353</c:v>
                </c:pt>
                <c:pt idx="30">
                  <c:v>8.1294910181738977</c:v>
                </c:pt>
                <c:pt idx="31">
                  <c:v>8.4285067797619035</c:v>
                </c:pt>
                <c:pt idx="32">
                  <c:v>8.9704728476401634</c:v>
                </c:pt>
                <c:pt idx="33">
                  <c:v>9.4376849751214209</c:v>
                </c:pt>
                <c:pt idx="34">
                  <c:v>9.232111639029668</c:v>
                </c:pt>
                <c:pt idx="35">
                  <c:v>8.8022764817469099</c:v>
                </c:pt>
                <c:pt idx="36">
                  <c:v>10.138503166343309</c:v>
                </c:pt>
                <c:pt idx="37">
                  <c:v>10.904731055412572</c:v>
                </c:pt>
                <c:pt idx="38">
                  <c:v>12.035384403917218</c:v>
                </c:pt>
                <c:pt idx="39">
                  <c:v>12.325055922955599</c:v>
                </c:pt>
                <c:pt idx="40">
                  <c:v>12.698825624940605</c:v>
                </c:pt>
                <c:pt idx="41">
                  <c:v>13.7734135181475</c:v>
                </c:pt>
                <c:pt idx="42">
                  <c:v>15.754392938668037</c:v>
                </c:pt>
                <c:pt idx="43">
                  <c:v>15.586196572774783</c:v>
                </c:pt>
                <c:pt idx="44">
                  <c:v>15.371278994133405</c:v>
                </c:pt>
                <c:pt idx="45">
                  <c:v>14.969476564499521</c:v>
                </c:pt>
                <c:pt idx="46">
                  <c:v>15.343246266484529</c:v>
                </c:pt>
                <c:pt idx="47">
                  <c:v>15.044230504896523</c:v>
                </c:pt>
                <c:pt idx="48">
                  <c:v>14.801280198606268</c:v>
                </c:pt>
                <c:pt idx="49">
                  <c:v>14.595706862514515</c:v>
                </c:pt>
                <c:pt idx="50">
                  <c:v>14.315379586025761</c:v>
                </c:pt>
                <c:pt idx="51">
                  <c:v>14.04439655208663</c:v>
                </c:pt>
                <c:pt idx="52">
                  <c:v>13.549151696956496</c:v>
                </c:pt>
                <c:pt idx="53">
                  <c:v>12.876366233383484</c:v>
                </c:pt>
                <c:pt idx="54">
                  <c:v>12.549317744146602</c:v>
                </c:pt>
                <c:pt idx="55">
                  <c:v>12.353088650604473</c:v>
                </c:pt>
                <c:pt idx="56">
                  <c:v>11.923253493321717</c:v>
                </c:pt>
                <c:pt idx="57">
                  <c:v>11.54948379133671</c:v>
                </c:pt>
                <c:pt idx="58">
                  <c:v>11.624237731733711</c:v>
                </c:pt>
                <c:pt idx="59">
                  <c:v>11.147681361702826</c:v>
                </c:pt>
                <c:pt idx="60">
                  <c:v>11.054238936206575</c:v>
                </c:pt>
                <c:pt idx="61">
                  <c:v>11.016861966008076</c:v>
                </c:pt>
                <c:pt idx="62">
                  <c:v>10.587026808725318</c:v>
                </c:pt>
                <c:pt idx="63">
                  <c:v>10.437518927931315</c:v>
                </c:pt>
                <c:pt idx="64">
                  <c:v>10.587026808725318</c:v>
                </c:pt>
                <c:pt idx="65">
                  <c:v>10.203912864190684</c:v>
                </c:pt>
                <c:pt idx="66">
                  <c:v>10.540305595977191</c:v>
                </c:pt>
                <c:pt idx="67">
                  <c:v>10.904731055412572</c:v>
                </c:pt>
                <c:pt idx="68">
                  <c:v>11.175714089351704</c:v>
                </c:pt>
                <c:pt idx="69">
                  <c:v>11.343910455244957</c:v>
                </c:pt>
                <c:pt idx="70">
                  <c:v>11.54948379133671</c:v>
                </c:pt>
                <c:pt idx="71">
                  <c:v>11.652270459382587</c:v>
                </c:pt>
                <c:pt idx="72">
                  <c:v>11.895220765672841</c:v>
                </c:pt>
                <c:pt idx="73">
                  <c:v>12.315711680405974</c:v>
                </c:pt>
                <c:pt idx="74">
                  <c:v>12.203580769810472</c:v>
                </c:pt>
                <c:pt idx="75">
                  <c:v>11.932597735871342</c:v>
                </c:pt>
                <c:pt idx="76">
                  <c:v>12.353088650604473</c:v>
                </c:pt>
                <c:pt idx="77">
                  <c:v>12.726858352589479</c:v>
                </c:pt>
                <c:pt idx="78">
                  <c:v>12.624071684543605</c:v>
                </c:pt>
                <c:pt idx="79">
                  <c:v>12.390465620802974</c:v>
                </c:pt>
                <c:pt idx="80">
                  <c:v>11.932597735871342</c:v>
                </c:pt>
                <c:pt idx="81">
                  <c:v>11.857843795474341</c:v>
                </c:pt>
                <c:pt idx="82">
                  <c:v>12.138171071963095</c:v>
                </c:pt>
                <c:pt idx="83">
                  <c:v>12.100794101764594</c:v>
                </c:pt>
                <c:pt idx="84">
                  <c:v>11.614893489184086</c:v>
                </c:pt>
                <c:pt idx="85">
                  <c:v>11.979318948619468</c:v>
                </c:pt>
                <c:pt idx="86">
                  <c:v>12.409154105902227</c:v>
                </c:pt>
                <c:pt idx="87">
                  <c:v>12.521285016497727</c:v>
                </c:pt>
                <c:pt idx="88">
                  <c:v>12.511940773948101</c:v>
                </c:pt>
                <c:pt idx="89">
                  <c:v>12.268990467657849</c:v>
                </c:pt>
                <c:pt idx="90">
                  <c:v>12.549317744146602</c:v>
                </c:pt>
                <c:pt idx="91">
                  <c:v>12.960464416330112</c:v>
                </c:pt>
                <c:pt idx="92">
                  <c:v>13.100628054574489</c:v>
                </c:pt>
                <c:pt idx="93">
                  <c:v>13.978986854239254</c:v>
                </c:pt>
                <c:pt idx="94">
                  <c:v>15.147017172942402</c:v>
                </c:pt>
                <c:pt idx="95">
                  <c:v>15.829146879065039</c:v>
                </c:pt>
                <c:pt idx="96">
                  <c:v>16.380457189492923</c:v>
                </c:pt>
                <c:pt idx="97">
                  <c:v>17.791437814486322</c:v>
                </c:pt>
                <c:pt idx="98">
                  <c:v>20.510612396427248</c:v>
                </c:pt>
                <c:pt idx="99">
                  <c:v>21.622577259832642</c:v>
                </c:pt>
                <c:pt idx="100">
                  <c:v>22.678476667940288</c:v>
                </c:pt>
                <c:pt idx="101">
                  <c:v>23.958637897238937</c:v>
                </c:pt>
                <c:pt idx="102">
                  <c:v>24.369784569422443</c:v>
                </c:pt>
                <c:pt idx="103">
                  <c:v>24.332407599223941</c:v>
                </c:pt>
                <c:pt idx="104">
                  <c:v>25.26683185418646</c:v>
                </c:pt>
                <c:pt idx="105">
                  <c:v>25.005193062796955</c:v>
                </c:pt>
                <c:pt idx="106">
                  <c:v>26.332075504843729</c:v>
                </c:pt>
                <c:pt idx="107">
                  <c:v>27.612236734142378</c:v>
                </c:pt>
                <c:pt idx="108">
                  <c:v>27.593548249043128</c:v>
                </c:pt>
                <c:pt idx="109">
                  <c:v>28.070104619074009</c:v>
                </c:pt>
                <c:pt idx="110">
                  <c:v>28.54666098910489</c:v>
                </c:pt>
                <c:pt idx="111">
                  <c:v>28.443874321059017</c:v>
                </c:pt>
                <c:pt idx="112">
                  <c:v>28.826988265593648</c:v>
                </c:pt>
                <c:pt idx="113">
                  <c:v>28.826988265593648</c:v>
                </c:pt>
                <c:pt idx="114">
                  <c:v>28.154202802020635</c:v>
                </c:pt>
                <c:pt idx="115">
                  <c:v>28.752234325196646</c:v>
                </c:pt>
                <c:pt idx="116">
                  <c:v>29.808133733304292</c:v>
                </c:pt>
                <c:pt idx="117">
                  <c:v>30.387476771381053</c:v>
                </c:pt>
                <c:pt idx="118">
                  <c:v>32.162882855809833</c:v>
                </c:pt>
                <c:pt idx="119">
                  <c:v>31.013541022205942</c:v>
                </c:pt>
                <c:pt idx="120">
                  <c:v>32.966487715077598</c:v>
                </c:pt>
                <c:pt idx="121">
                  <c:v>37.049921709263799</c:v>
                </c:pt>
                <c:pt idx="122">
                  <c:v>40.049423567693481</c:v>
                </c:pt>
                <c:pt idx="123">
                  <c:v>41.338929039541753</c:v>
                </c:pt>
                <c:pt idx="124">
                  <c:v>41.98368177546589</c:v>
                </c:pt>
                <c:pt idx="125">
                  <c:v>43.207777549466783</c:v>
                </c:pt>
                <c:pt idx="126">
                  <c:v>49.160060053578022</c:v>
                </c:pt>
                <c:pt idx="127">
                  <c:v>52.112840699259571</c:v>
                </c:pt>
                <c:pt idx="128">
                  <c:v>52.757593435183708</c:v>
                </c:pt>
                <c:pt idx="129">
                  <c:v>54.532999519612495</c:v>
                </c:pt>
                <c:pt idx="130">
                  <c:v>55.598243170269754</c:v>
                </c:pt>
                <c:pt idx="131">
                  <c:v>55.766439536163006</c:v>
                </c:pt>
                <c:pt idx="132">
                  <c:v>60.82167475551023</c:v>
                </c:pt>
                <c:pt idx="133">
                  <c:v>64.531339047711413</c:v>
                </c:pt>
                <c:pt idx="134">
                  <c:v>68.745592437592364</c:v>
                </c:pt>
                <c:pt idx="135">
                  <c:v>73.894270082435838</c:v>
                </c:pt>
                <c:pt idx="136">
                  <c:v>81.051959875448716</c:v>
                </c:pt>
                <c:pt idx="137">
                  <c:v>85.64932720986431</c:v>
                </c:pt>
                <c:pt idx="138">
                  <c:v>89.93833454014225</c:v>
                </c:pt>
                <c:pt idx="139">
                  <c:v>101.02060620399772</c:v>
                </c:pt>
                <c:pt idx="140">
                  <c:v>117.29827672544477</c:v>
                </c:pt>
                <c:pt idx="141">
                  <c:v>133.92168422122793</c:v>
                </c:pt>
                <c:pt idx="142">
                  <c:v>153.57262630308966</c:v>
                </c:pt>
                <c:pt idx="143">
                  <c:v>176.49405327732021</c:v>
                </c:pt>
                <c:pt idx="144">
                  <c:v>191.42615287162124</c:v>
                </c:pt>
                <c:pt idx="145">
                  <c:v>201.16285360833064</c:v>
                </c:pt>
                <c:pt idx="146">
                  <c:v>217.54331079782358</c:v>
                </c:pt>
                <c:pt idx="147">
                  <c:v>245.93111966358484</c:v>
                </c:pt>
                <c:pt idx="148">
                  <c:v>269.91779028847264</c:v>
                </c:pt>
                <c:pt idx="149">
                  <c:v>276.55220249870655</c:v>
                </c:pt>
                <c:pt idx="150">
                  <c:v>290.66200874864052</c:v>
                </c:pt>
                <c:pt idx="151">
                  <c:v>312.16311085532806</c:v>
                </c:pt>
                <c:pt idx="152">
                  <c:v>320.89997763922759</c:v>
                </c:pt>
                <c:pt idx="153">
                  <c:v>351.87614169123503</c:v>
                </c:pt>
                <c:pt idx="154">
                  <c:v>385.72098820597739</c:v>
                </c:pt>
                <c:pt idx="155">
                  <c:v>419.55649047817013</c:v>
                </c:pt>
                <c:pt idx="156">
                  <c:v>457.73706553593854</c:v>
                </c:pt>
                <c:pt idx="157">
                  <c:v>490.38584900432892</c:v>
                </c:pt>
                <c:pt idx="158">
                  <c:v>496.74927818062366</c:v>
                </c:pt>
                <c:pt idx="159">
                  <c:v>498.93583093723595</c:v>
                </c:pt>
                <c:pt idx="160">
                  <c:v>514.5033390249115</c:v>
                </c:pt>
                <c:pt idx="161">
                  <c:v>557.94472263811883</c:v>
                </c:pt>
                <c:pt idx="162">
                  <c:v>595.77021647900153</c:v>
                </c:pt>
                <c:pt idx="163">
                  <c:v>614.22509551451128</c:v>
                </c:pt>
                <c:pt idx="164">
                  <c:v>660.85286583714083</c:v>
                </c:pt>
                <c:pt idx="165">
                  <c:v>692.92230626745447</c:v>
                </c:pt>
                <c:pt idx="166">
                  <c:v>717.74061447925897</c:v>
                </c:pt>
                <c:pt idx="167">
                  <c:v>739.13892991790055</c:v>
                </c:pt>
                <c:pt idx="168">
                  <c:v>813.15467515348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625.06550783174396</c:v>
                </c:pt>
                <c:pt idx="165" formatCode="0">
                  <c:v>645.23307298493933</c:v>
                </c:pt>
                <c:pt idx="166" formatCode="0">
                  <c:v>663.38465111031746</c:v>
                </c:pt>
                <c:pt idx="167" formatCode="0">
                  <c:v>680.75472770979945</c:v>
                </c:pt>
                <c:pt idx="168" formatCode="0">
                  <c:v>695.42644691107682</c:v>
                </c:pt>
                <c:pt idx="169" formatCode="0">
                  <c:v>706.14084004505116</c:v>
                </c:pt>
                <c:pt idx="170" formatCode="0">
                  <c:v>712.0128895995266</c:v>
                </c:pt>
                <c:pt idx="171" formatCode="0">
                  <c:v>722.3430952000291</c:v>
                </c:pt>
                <c:pt idx="172" formatCode="0">
                  <c:v>737.68391533491433</c:v>
                </c:pt>
                <c:pt idx="173" formatCode="0">
                  <c:v>753.33903519939224</c:v>
                </c:pt>
                <c:pt idx="174" formatCode="0">
                  <c:v>767.38523978143087</c:v>
                </c:pt>
                <c:pt idx="175" formatCode="0">
                  <c:v>780.51847848227158</c:v>
                </c:pt>
                <c:pt idx="176" formatCode="0">
                  <c:v>793.67416716379751</c:v>
                </c:pt>
                <c:pt idx="177" formatCode="0">
                  <c:v>807.76527170720658</c:v>
                </c:pt>
                <c:pt idx="178" formatCode="0">
                  <c:v>823.50270816753027</c:v>
                </c:pt>
                <c:pt idx="179" formatCode="0">
                  <c:v>839.35239453127997</c:v>
                </c:pt>
                <c:pt idx="180" formatCode="0">
                  <c:v>854.65579803168964</c:v>
                </c:pt>
                <c:pt idx="181" formatCode="0">
                  <c:v>869.5700685335562</c:v>
                </c:pt>
                <c:pt idx="182" formatCode="0">
                  <c:v>884.97075528360187</c:v>
                </c:pt>
                <c:pt idx="183" formatCode="0">
                  <c:v>901.12725805004925</c:v>
                </c:pt>
                <c:pt idx="184" formatCode="0">
                  <c:v>917.89739362189198</c:v>
                </c:pt>
                <c:pt idx="185" formatCode="0">
                  <c:v>934.88454567369149</c:v>
                </c:pt>
                <c:pt idx="186" formatCode="0">
                  <c:v>951.78938112964534</c:v>
                </c:pt>
                <c:pt idx="187" formatCode="0">
                  <c:v>968.7840165083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628.59912610049571</c:v>
                </c:pt>
                <c:pt idx="165" formatCode="0">
                  <c:v>654.40911973257084</c:v>
                </c:pt>
                <c:pt idx="166" formatCode="0">
                  <c:v>679.69230838894703</c:v>
                </c:pt>
                <c:pt idx="167" formatCode="0">
                  <c:v>705.30901122679165</c:v>
                </c:pt>
                <c:pt idx="168" formatCode="0">
                  <c:v>729.91110521782127</c:v>
                </c:pt>
                <c:pt idx="169" formatCode="0">
                  <c:v>752.6287546914815</c:v>
                </c:pt>
                <c:pt idx="170" formatCode="0">
                  <c:v>772.89124186516892</c:v>
                </c:pt>
                <c:pt idx="171" formatCode="0">
                  <c:v>796.70491455629906</c:v>
                </c:pt>
                <c:pt idx="172" formatCode="0">
                  <c:v>825.65042298641424</c:v>
                </c:pt>
                <c:pt idx="173" formatCode="0">
                  <c:v>855.61366387425824</c:v>
                </c:pt>
                <c:pt idx="174" formatCode="0">
                  <c:v>885.27757168629967</c:v>
                </c:pt>
                <c:pt idx="175" formatCode="0">
                  <c:v>915.14352932450765</c:v>
                </c:pt>
                <c:pt idx="176" formatCode="0">
                  <c:v>945.90748619012379</c:v>
                </c:pt>
                <c:pt idx="177" formatCode="0">
                  <c:v>978.23545837680865</c:v>
                </c:pt>
                <c:pt idx="178" formatCode="0">
                  <c:v>1012.6437954403217</c:v>
                </c:pt>
                <c:pt idx="179" formatCode="0">
                  <c:v>1048.0773482884588</c:v>
                </c:pt>
                <c:pt idx="180" formatCode="0">
                  <c:v>1084.1095672882013</c:v>
                </c:pt>
                <c:pt idx="181" formatCode="0">
                  <c:v>1120.8751523236604</c:v>
                </c:pt>
                <c:pt idx="182" formatCode="0">
                  <c:v>1159.0625694691817</c:v>
                </c:pt>
                <c:pt idx="183" formatCode="0">
                  <c:v>1198.9262518391981</c:v>
                </c:pt>
                <c:pt idx="184" formatCode="0">
                  <c:v>1240.3838828378632</c:v>
                </c:pt>
                <c:pt idx="185" formatCode="0">
                  <c:v>1283.1735460238501</c:v>
                </c:pt>
                <c:pt idx="186" formatCode="0">
                  <c:v>1327.0931915709921</c:v>
                </c:pt>
                <c:pt idx="187" formatCode="0">
                  <c:v>1372.3373859785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632.14044288399441</c:v>
                </c:pt>
                <c:pt idx="165" formatCode="0">
                  <c:v>663.5853816680542</c:v>
                </c:pt>
                <c:pt idx="166" formatCode="0">
                  <c:v>696.01514750921831</c:v>
                </c:pt>
                <c:pt idx="167" formatCode="0">
                  <c:v>729.87847658542557</c:v>
                </c:pt>
                <c:pt idx="168" formatCode="0">
                  <c:v>764.58306188479412</c:v>
                </c:pt>
                <c:pt idx="169" formatCode="0">
                  <c:v>799.77541729252937</c:v>
                </c:pt>
                <c:pt idx="170" formatCode="0">
                  <c:v>835.24402471699068</c:v>
                </c:pt>
                <c:pt idx="171" formatCode="0">
                  <c:v>873.76073159479301</c:v>
                </c:pt>
                <c:pt idx="172" formatCode="0">
                  <c:v>917.91236027568209</c:v>
                </c:pt>
                <c:pt idx="173" formatCode="0">
                  <c:v>964.25660373682547</c:v>
                </c:pt>
                <c:pt idx="174" formatCode="0">
                  <c:v>1012.2546624417782</c:v>
                </c:pt>
                <c:pt idx="175" formatCode="0">
                  <c:v>1062.2208361201335</c:v>
                </c:pt>
                <c:pt idx="176" formatCode="0">
                  <c:v>1114.5816744049098</c:v>
                </c:pt>
                <c:pt idx="177" formatCode="0">
                  <c:v>1169.8011435636015</c:v>
                </c:pt>
                <c:pt idx="178" formatCode="0">
                  <c:v>1228.2085099795909</c:v>
                </c:pt>
                <c:pt idx="179" formatCode="0">
                  <c:v>1289.414640654335</c:v>
                </c:pt>
                <c:pt idx="180" formatCode="0">
                  <c:v>1353.307285684408</c:v>
                </c:pt>
                <c:pt idx="181" formatCode="0">
                  <c:v>1420.0884948959765</c:v>
                </c:pt>
                <c:pt idx="182" formatCode="0">
                  <c:v>1490.2596511910099</c:v>
                </c:pt>
                <c:pt idx="183" formatCode="0">
                  <c:v>1564.0976376646249</c:v>
                </c:pt>
                <c:pt idx="184" formatCode="0">
                  <c:v>1641.6772875857737</c:v>
                </c:pt>
                <c:pt idx="185" formatCode="0">
                  <c:v>1723.02105093514</c:v>
                </c:pt>
                <c:pt idx="186" formatCode="0">
                  <c:v>1808.1962776547809</c:v>
                </c:pt>
                <c:pt idx="187" formatCode="0">
                  <c:v>1897.46488418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635.67406115274616</c:v>
                </c:pt>
                <c:pt idx="165" formatCode="0">
                  <c:v>672.7614284156856</c:v>
                </c:pt>
                <c:pt idx="166" formatCode="0">
                  <c:v>712.32280478784753</c:v>
                </c:pt>
                <c:pt idx="167" formatCode="0">
                  <c:v>754.43276010241743</c:v>
                </c:pt>
                <c:pt idx="168" formatCode="0">
                  <c:v>799.41195322871181</c:v>
                </c:pt>
                <c:pt idx="169" formatCode="0">
                  <c:v>847.52053085733075</c:v>
                </c:pt>
                <c:pt idx="170" formatCode="0">
                  <c:v>899.00345783723321</c:v>
                </c:pt>
                <c:pt idx="171" formatCode="0">
                  <c:v>953.45067970035029</c:v>
                </c:pt>
                <c:pt idx="172" formatCode="0">
                  <c:v>1014.4248272413473</c:v>
                </c:pt>
                <c:pt idx="173" formatCode="0">
                  <c:v>1079.2753381139887</c:v>
                </c:pt>
                <c:pt idx="174" formatCode="0">
                  <c:v>1148.3913453168177</c:v>
                </c:pt>
                <c:pt idx="175" formatCode="0">
                  <c:v>1222.0048319835812</c:v>
                </c:pt>
                <c:pt idx="176" formatCode="0">
                  <c:v>1300.295397959761</c:v>
                </c:pt>
                <c:pt idx="177" formatCode="0">
                  <c:v>1383.4950263791038</c:v>
                </c:pt>
                <c:pt idx="178" formatCode="0">
                  <c:v>1471.8581503560426</c:v>
                </c:pt>
                <c:pt idx="179" formatCode="0">
                  <c:v>1565.8637028118608</c:v>
                </c:pt>
                <c:pt idx="180" formatCode="0">
                  <c:v>1665.9232667257872</c:v>
                </c:pt>
                <c:pt idx="181" formatCode="0">
                  <c:v>1772.4110084425752</c:v>
                </c:pt>
                <c:pt idx="182" formatCode="0">
                  <c:v>1885.6187777111329</c:v>
                </c:pt>
                <c:pt idx="183" formatCode="0">
                  <c:v>2005.9806074913733</c:v>
                </c:pt>
                <c:pt idx="184" formatCode="0">
                  <c:v>2133.952980723896</c:v>
                </c:pt>
                <c:pt idx="185" formatCode="0">
                  <c:v>2270.0746969451452</c:v>
                </c:pt>
                <c:pt idx="186" formatCode="0">
                  <c:v>2414.8920390184608</c:v>
                </c:pt>
                <c:pt idx="187" formatCode="0">
                  <c:v>2568.928839826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027161767020882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3:$A$262</c:f>
              <c:numCache>
                <c:formatCode>m/d/yyyy</c:formatCode>
                <c:ptCount val="130"/>
                <c:pt idx="0">
                  <c:v>44387</c:v>
                </c:pt>
                <c:pt idx="1">
                  <c:v>44388</c:v>
                </c:pt>
                <c:pt idx="2">
                  <c:v>44389</c:v>
                </c:pt>
                <c:pt idx="3">
                  <c:v>44390</c:v>
                </c:pt>
                <c:pt idx="4">
                  <c:v>44391</c:v>
                </c:pt>
                <c:pt idx="5">
                  <c:v>44392</c:v>
                </c:pt>
                <c:pt idx="6">
                  <c:v>44393</c:v>
                </c:pt>
                <c:pt idx="7">
                  <c:v>44394</c:v>
                </c:pt>
                <c:pt idx="8">
                  <c:v>44395</c:v>
                </c:pt>
                <c:pt idx="9">
                  <c:v>44396</c:v>
                </c:pt>
                <c:pt idx="10">
                  <c:v>44397</c:v>
                </c:pt>
                <c:pt idx="11">
                  <c:v>44398</c:v>
                </c:pt>
                <c:pt idx="12">
                  <c:v>44399</c:v>
                </c:pt>
                <c:pt idx="13">
                  <c:v>44400</c:v>
                </c:pt>
                <c:pt idx="14">
                  <c:v>44401</c:v>
                </c:pt>
                <c:pt idx="15">
                  <c:v>44402</c:v>
                </c:pt>
                <c:pt idx="16">
                  <c:v>44403</c:v>
                </c:pt>
                <c:pt idx="17">
                  <c:v>44404</c:v>
                </c:pt>
                <c:pt idx="18">
                  <c:v>44405</c:v>
                </c:pt>
                <c:pt idx="19">
                  <c:v>44406</c:v>
                </c:pt>
                <c:pt idx="20">
                  <c:v>44407</c:v>
                </c:pt>
                <c:pt idx="21">
                  <c:v>44408</c:v>
                </c:pt>
                <c:pt idx="22">
                  <c:v>44409</c:v>
                </c:pt>
                <c:pt idx="23">
                  <c:v>44410</c:v>
                </c:pt>
                <c:pt idx="24">
                  <c:v>44411</c:v>
                </c:pt>
                <c:pt idx="25">
                  <c:v>44412</c:v>
                </c:pt>
                <c:pt idx="26">
                  <c:v>44413</c:v>
                </c:pt>
                <c:pt idx="27">
                  <c:v>44414</c:v>
                </c:pt>
                <c:pt idx="28">
                  <c:v>44415</c:v>
                </c:pt>
                <c:pt idx="29">
                  <c:v>44416</c:v>
                </c:pt>
                <c:pt idx="30">
                  <c:v>44417</c:v>
                </c:pt>
                <c:pt idx="31">
                  <c:v>44418</c:v>
                </c:pt>
                <c:pt idx="32">
                  <c:v>44419</c:v>
                </c:pt>
                <c:pt idx="33">
                  <c:v>44420</c:v>
                </c:pt>
                <c:pt idx="34">
                  <c:v>44421</c:v>
                </c:pt>
                <c:pt idx="35">
                  <c:v>44422</c:v>
                </c:pt>
                <c:pt idx="36">
                  <c:v>44423</c:v>
                </c:pt>
                <c:pt idx="37">
                  <c:v>44424</c:v>
                </c:pt>
                <c:pt idx="38">
                  <c:v>44425</c:v>
                </c:pt>
                <c:pt idx="39">
                  <c:v>44426</c:v>
                </c:pt>
                <c:pt idx="40">
                  <c:v>44427</c:v>
                </c:pt>
                <c:pt idx="41">
                  <c:v>44428</c:v>
                </c:pt>
                <c:pt idx="42">
                  <c:v>44429</c:v>
                </c:pt>
                <c:pt idx="43">
                  <c:v>44430</c:v>
                </c:pt>
                <c:pt idx="44">
                  <c:v>44431</c:v>
                </c:pt>
                <c:pt idx="45">
                  <c:v>44432</c:v>
                </c:pt>
                <c:pt idx="46">
                  <c:v>44433</c:v>
                </c:pt>
                <c:pt idx="47">
                  <c:v>44434</c:v>
                </c:pt>
                <c:pt idx="48">
                  <c:v>44435</c:v>
                </c:pt>
                <c:pt idx="49">
                  <c:v>44436</c:v>
                </c:pt>
                <c:pt idx="50">
                  <c:v>44437</c:v>
                </c:pt>
                <c:pt idx="51">
                  <c:v>44438</c:v>
                </c:pt>
                <c:pt idx="52">
                  <c:v>44439</c:v>
                </c:pt>
                <c:pt idx="53">
                  <c:v>44440</c:v>
                </c:pt>
                <c:pt idx="54">
                  <c:v>44441</c:v>
                </c:pt>
                <c:pt idx="55">
                  <c:v>44442</c:v>
                </c:pt>
                <c:pt idx="56">
                  <c:v>44443</c:v>
                </c:pt>
                <c:pt idx="57">
                  <c:v>44444</c:v>
                </c:pt>
                <c:pt idx="58">
                  <c:v>44445</c:v>
                </c:pt>
                <c:pt idx="59">
                  <c:v>44446</c:v>
                </c:pt>
                <c:pt idx="60">
                  <c:v>44447</c:v>
                </c:pt>
                <c:pt idx="61">
                  <c:v>44448</c:v>
                </c:pt>
                <c:pt idx="62">
                  <c:v>44449</c:v>
                </c:pt>
                <c:pt idx="63">
                  <c:v>44450</c:v>
                </c:pt>
                <c:pt idx="64">
                  <c:v>44451</c:v>
                </c:pt>
                <c:pt idx="65">
                  <c:v>44452</c:v>
                </c:pt>
                <c:pt idx="66">
                  <c:v>44453</c:v>
                </c:pt>
                <c:pt idx="67">
                  <c:v>44454</c:v>
                </c:pt>
                <c:pt idx="68">
                  <c:v>44455</c:v>
                </c:pt>
                <c:pt idx="69">
                  <c:v>44456</c:v>
                </c:pt>
                <c:pt idx="70">
                  <c:v>44457</c:v>
                </c:pt>
                <c:pt idx="71">
                  <c:v>44458</c:v>
                </c:pt>
                <c:pt idx="72">
                  <c:v>44459</c:v>
                </c:pt>
                <c:pt idx="73">
                  <c:v>44460</c:v>
                </c:pt>
                <c:pt idx="74">
                  <c:v>44461</c:v>
                </c:pt>
                <c:pt idx="75">
                  <c:v>44462</c:v>
                </c:pt>
                <c:pt idx="76">
                  <c:v>44463</c:v>
                </c:pt>
                <c:pt idx="77">
                  <c:v>44464</c:v>
                </c:pt>
                <c:pt idx="78">
                  <c:v>44465</c:v>
                </c:pt>
                <c:pt idx="79">
                  <c:v>44466</c:v>
                </c:pt>
                <c:pt idx="80">
                  <c:v>44467</c:v>
                </c:pt>
                <c:pt idx="81">
                  <c:v>44468</c:v>
                </c:pt>
                <c:pt idx="82">
                  <c:v>44469</c:v>
                </c:pt>
                <c:pt idx="83">
                  <c:v>44470</c:v>
                </c:pt>
                <c:pt idx="84">
                  <c:v>44471</c:v>
                </c:pt>
                <c:pt idx="85">
                  <c:v>44472</c:v>
                </c:pt>
                <c:pt idx="86">
                  <c:v>44473</c:v>
                </c:pt>
                <c:pt idx="87">
                  <c:v>44474</c:v>
                </c:pt>
                <c:pt idx="88">
                  <c:v>44475</c:v>
                </c:pt>
                <c:pt idx="89">
                  <c:v>44476</c:v>
                </c:pt>
                <c:pt idx="90">
                  <c:v>44477</c:v>
                </c:pt>
                <c:pt idx="91">
                  <c:v>44478</c:v>
                </c:pt>
                <c:pt idx="92">
                  <c:v>44479</c:v>
                </c:pt>
                <c:pt idx="93">
                  <c:v>44480</c:v>
                </c:pt>
                <c:pt idx="94">
                  <c:v>44481</c:v>
                </c:pt>
                <c:pt idx="95">
                  <c:v>44482</c:v>
                </c:pt>
                <c:pt idx="96">
                  <c:v>44483</c:v>
                </c:pt>
                <c:pt idx="97">
                  <c:v>44484</c:v>
                </c:pt>
                <c:pt idx="98">
                  <c:v>44485</c:v>
                </c:pt>
                <c:pt idx="99">
                  <c:v>44486</c:v>
                </c:pt>
                <c:pt idx="100">
                  <c:v>44487</c:v>
                </c:pt>
                <c:pt idx="101">
                  <c:v>44488</c:v>
                </c:pt>
                <c:pt idx="102">
                  <c:v>44489</c:v>
                </c:pt>
                <c:pt idx="103">
                  <c:v>44490</c:v>
                </c:pt>
                <c:pt idx="104">
                  <c:v>44491</c:v>
                </c:pt>
                <c:pt idx="105">
                  <c:v>44492</c:v>
                </c:pt>
                <c:pt idx="106">
                  <c:v>44493</c:v>
                </c:pt>
                <c:pt idx="107">
                  <c:v>44494</c:v>
                </c:pt>
                <c:pt idx="108">
                  <c:v>44495</c:v>
                </c:pt>
                <c:pt idx="109">
                  <c:v>44496</c:v>
                </c:pt>
                <c:pt idx="110">
                  <c:v>44497</c:v>
                </c:pt>
                <c:pt idx="111">
                  <c:v>44498</c:v>
                </c:pt>
                <c:pt idx="112">
                  <c:v>44499</c:v>
                </c:pt>
                <c:pt idx="113">
                  <c:v>44500</c:v>
                </c:pt>
                <c:pt idx="114">
                  <c:v>44501</c:v>
                </c:pt>
                <c:pt idx="115">
                  <c:v>44502</c:v>
                </c:pt>
                <c:pt idx="116">
                  <c:v>44503</c:v>
                </c:pt>
                <c:pt idx="117">
                  <c:v>44504</c:v>
                </c:pt>
                <c:pt idx="118">
                  <c:v>44505</c:v>
                </c:pt>
                <c:pt idx="119">
                  <c:v>44506</c:v>
                </c:pt>
                <c:pt idx="120">
                  <c:v>44507</c:v>
                </c:pt>
                <c:pt idx="121">
                  <c:v>44508</c:v>
                </c:pt>
                <c:pt idx="122">
                  <c:v>44509</c:v>
                </c:pt>
                <c:pt idx="123">
                  <c:v>44510</c:v>
                </c:pt>
                <c:pt idx="124">
                  <c:v>44511</c:v>
                </c:pt>
                <c:pt idx="125">
                  <c:v>44512</c:v>
                </c:pt>
                <c:pt idx="126">
                  <c:v>44513</c:v>
                </c:pt>
                <c:pt idx="127">
                  <c:v>44514</c:v>
                </c:pt>
                <c:pt idx="128">
                  <c:v>44515</c:v>
                </c:pt>
                <c:pt idx="129">
                  <c:v>44516</c:v>
                </c:pt>
              </c:numCache>
            </c:numRef>
          </c:cat>
          <c:val>
            <c:numRef>
              <c:f>Sheet1!$B$133:$B$262</c:f>
              <c:numCache>
                <c:formatCode>General</c:formatCode>
                <c:ptCount val="130"/>
                <c:pt idx="0">
                  <c:v>4</c:v>
                </c:pt>
                <c:pt idx="1">
                  <c:v>3</c:v>
                </c:pt>
                <c:pt idx="2">
                  <c:v>20</c:v>
                </c:pt>
                <c:pt idx="3">
                  <c:v>13</c:v>
                </c:pt>
                <c:pt idx="4">
                  <c:v>12</c:v>
                </c:pt>
                <c:pt idx="5">
                  <c:v>6</c:v>
                </c:pt>
                <c:pt idx="6">
                  <c:v>10</c:v>
                </c:pt>
                <c:pt idx="7">
                  <c:v>8</c:v>
                </c:pt>
                <c:pt idx="8">
                  <c:v>4</c:v>
                </c:pt>
                <c:pt idx="9">
                  <c:v>8</c:v>
                </c:pt>
                <c:pt idx="10">
                  <c:v>8</c:v>
                </c:pt>
                <c:pt idx="11">
                  <c:v>10</c:v>
                </c:pt>
                <c:pt idx="12">
                  <c:v>5</c:v>
                </c:pt>
                <c:pt idx="13">
                  <c:v>10</c:v>
                </c:pt>
                <c:pt idx="14">
                  <c:v>5</c:v>
                </c:pt>
                <c:pt idx="15">
                  <c:v>1</c:v>
                </c:pt>
                <c:pt idx="16">
                  <c:v>16</c:v>
                </c:pt>
                <c:pt idx="17">
                  <c:v>8</c:v>
                </c:pt>
                <c:pt idx="18">
                  <c:v>7</c:v>
                </c:pt>
                <c:pt idx="19">
                  <c:v>13</c:v>
                </c:pt>
                <c:pt idx="20">
                  <c:v>5</c:v>
                </c:pt>
                <c:pt idx="21">
                  <c:v>3</c:v>
                </c:pt>
                <c:pt idx="22">
                  <c:v>3</c:v>
                </c:pt>
                <c:pt idx="23">
                  <c:v>12</c:v>
                </c:pt>
                <c:pt idx="24">
                  <c:v>9</c:v>
                </c:pt>
                <c:pt idx="25">
                  <c:v>8</c:v>
                </c:pt>
                <c:pt idx="26">
                  <c:v>6</c:v>
                </c:pt>
                <c:pt idx="27">
                  <c:v>11</c:v>
                </c:pt>
                <c:pt idx="28">
                  <c:v>3</c:v>
                </c:pt>
                <c:pt idx="29">
                  <c:v>3</c:v>
                </c:pt>
                <c:pt idx="30">
                  <c:v>12</c:v>
                </c:pt>
                <c:pt idx="31">
                  <c:v>8</c:v>
                </c:pt>
                <c:pt idx="32">
                  <c:v>13</c:v>
                </c:pt>
                <c:pt idx="33">
                  <c:v>7</c:v>
                </c:pt>
                <c:pt idx="34">
                  <c:v>10</c:v>
                </c:pt>
                <c:pt idx="35">
                  <c:v>4</c:v>
                </c:pt>
                <c:pt idx="36">
                  <c:v>5</c:v>
                </c:pt>
                <c:pt idx="37">
                  <c:v>12</c:v>
                </c:pt>
                <c:pt idx="38">
                  <c:v>17</c:v>
                </c:pt>
                <c:pt idx="39">
                  <c:v>13</c:v>
                </c:pt>
                <c:pt idx="40">
                  <c:v>3</c:v>
                </c:pt>
                <c:pt idx="41">
                  <c:v>9</c:v>
                </c:pt>
                <c:pt idx="42">
                  <c:v>8</c:v>
                </c:pt>
                <c:pt idx="43">
                  <c:v>5</c:v>
                </c:pt>
                <c:pt idx="44">
                  <c:v>11</c:v>
                </c:pt>
                <c:pt idx="45">
                  <c:v>17</c:v>
                </c:pt>
                <c:pt idx="46">
                  <c:v>19</c:v>
                </c:pt>
                <c:pt idx="47">
                  <c:v>10</c:v>
                </c:pt>
                <c:pt idx="48">
                  <c:v>10</c:v>
                </c:pt>
                <c:pt idx="49">
                  <c:v>7</c:v>
                </c:pt>
                <c:pt idx="50">
                  <c:v>3</c:v>
                </c:pt>
                <c:pt idx="51">
                  <c:v>12</c:v>
                </c:pt>
                <c:pt idx="52">
                  <c:v>15</c:v>
                </c:pt>
                <c:pt idx="53">
                  <c:v>26</c:v>
                </c:pt>
                <c:pt idx="54">
                  <c:v>17</c:v>
                </c:pt>
                <c:pt idx="55">
                  <c:v>31</c:v>
                </c:pt>
                <c:pt idx="56">
                  <c:v>14</c:v>
                </c:pt>
                <c:pt idx="57">
                  <c:v>10</c:v>
                </c:pt>
                <c:pt idx="58">
                  <c:v>27</c:v>
                </c:pt>
                <c:pt idx="59">
                  <c:v>36</c:v>
                </c:pt>
                <c:pt idx="60">
                  <c:v>25</c:v>
                </c:pt>
                <c:pt idx="61">
                  <c:v>23</c:v>
                </c:pt>
                <c:pt idx="62">
                  <c:v>35</c:v>
                </c:pt>
                <c:pt idx="63">
                  <c:v>12</c:v>
                </c:pt>
                <c:pt idx="64">
                  <c:v>7</c:v>
                </c:pt>
                <c:pt idx="65">
                  <c:v>42</c:v>
                </c:pt>
                <c:pt idx="66">
                  <c:v>49</c:v>
                </c:pt>
                <c:pt idx="67">
                  <c:v>30</c:v>
                </c:pt>
                <c:pt idx="68">
                  <c:v>33</c:v>
                </c:pt>
                <c:pt idx="69">
                  <c:v>49</c:v>
                </c:pt>
                <c:pt idx="70">
                  <c:v>15</c:v>
                </c:pt>
                <c:pt idx="71">
                  <c:v>18</c:v>
                </c:pt>
                <c:pt idx="72">
                  <c:v>38</c:v>
                </c:pt>
                <c:pt idx="73">
                  <c:v>44</c:v>
                </c:pt>
                <c:pt idx="74">
                  <c:v>41</c:v>
                </c:pt>
                <c:pt idx="75">
                  <c:v>25</c:v>
                </c:pt>
                <c:pt idx="76">
                  <c:v>39</c:v>
                </c:pt>
                <c:pt idx="77">
                  <c:v>30</c:v>
                </c:pt>
                <c:pt idx="78">
                  <c:v>19</c:v>
                </c:pt>
                <c:pt idx="79">
                  <c:v>56</c:v>
                </c:pt>
                <c:pt idx="80">
                  <c:v>27</c:v>
                </c:pt>
                <c:pt idx="81">
                  <c:v>52</c:v>
                </c:pt>
                <c:pt idx="82">
                  <c:v>73</c:v>
                </c:pt>
                <c:pt idx="83">
                  <c:v>84</c:v>
                </c:pt>
                <c:pt idx="84">
                  <c:v>50</c:v>
                </c:pt>
                <c:pt idx="85">
                  <c:v>30</c:v>
                </c:pt>
                <c:pt idx="86">
                  <c:v>70</c:v>
                </c:pt>
                <c:pt idx="87">
                  <c:v>110</c:v>
                </c:pt>
                <c:pt idx="88">
                  <c:v>114</c:v>
                </c:pt>
                <c:pt idx="89">
                  <c:v>99</c:v>
                </c:pt>
                <c:pt idx="90">
                  <c:v>101</c:v>
                </c:pt>
                <c:pt idx="91">
                  <c:v>36</c:v>
                </c:pt>
                <c:pt idx="92">
                  <c:v>25</c:v>
                </c:pt>
                <c:pt idx="93">
                  <c:v>109</c:v>
                </c:pt>
                <c:pt idx="94">
                  <c:v>115</c:v>
                </c:pt>
                <c:pt idx="95">
                  <c:v>132</c:v>
                </c:pt>
                <c:pt idx="96">
                  <c:v>117</c:v>
                </c:pt>
                <c:pt idx="97">
                  <c:v>185</c:v>
                </c:pt>
                <c:pt idx="98">
                  <c:v>95</c:v>
                </c:pt>
                <c:pt idx="99">
                  <c:v>57</c:v>
                </c:pt>
                <c:pt idx="100">
                  <c:v>232</c:v>
                </c:pt>
                <c:pt idx="101">
                  <c:v>297</c:v>
                </c:pt>
                <c:pt idx="102">
                  <c:v>281</c:v>
                </c:pt>
                <c:pt idx="103">
                  <c:v>292</c:v>
                </c:pt>
                <c:pt idx="104">
                  <c:v>383</c:v>
                </c:pt>
                <c:pt idx="105">
                  <c:v>212</c:v>
                </c:pt>
                <c:pt idx="106">
                  <c:v>154</c:v>
                </c:pt>
                <c:pt idx="107">
                  <c:v>430</c:v>
                </c:pt>
                <c:pt idx="108">
                  <c:v>575</c:v>
                </c:pt>
                <c:pt idx="109">
                  <c:v>500</c:v>
                </c:pt>
                <c:pt idx="110">
                  <c:v>302</c:v>
                </c:pt>
                <c:pt idx="111">
                  <c:v>622</c:v>
                </c:pt>
                <c:pt idx="112">
                  <c:v>407</c:v>
                </c:pt>
                <c:pt idx="113">
                  <c:v>285</c:v>
                </c:pt>
                <c:pt idx="114">
                  <c:v>867</c:v>
                </c:pt>
                <c:pt idx="115">
                  <c:v>909</c:v>
                </c:pt>
                <c:pt idx="116">
                  <c:v>1008</c:v>
                </c:pt>
                <c:pt idx="117">
                  <c:v>979</c:v>
                </c:pt>
                <c:pt idx="118">
                  <c:v>1036</c:v>
                </c:pt>
                <c:pt idx="119">
                  <c:v>561</c:v>
                </c:pt>
                <c:pt idx="120">
                  <c:v>321</c:v>
                </c:pt>
                <c:pt idx="121">
                  <c:v>1074</c:v>
                </c:pt>
                <c:pt idx="122">
                  <c:v>1347</c:v>
                </c:pt>
                <c:pt idx="123">
                  <c:v>1264</c:v>
                </c:pt>
                <c:pt idx="124">
                  <c:v>1093</c:v>
                </c:pt>
                <c:pt idx="125">
                  <c:v>1450</c:v>
                </c:pt>
                <c:pt idx="126">
                  <c:v>767</c:v>
                </c:pt>
                <c:pt idx="127" formatCode="[$-10409]#\ ##0;\(#\ ##0\)">
                  <c:v>482</c:v>
                </c:pt>
                <c:pt idx="128" formatCode="[$-10409]#\ ##0;\(#\ ##0\)">
                  <c:v>1356</c:v>
                </c:pt>
                <c:pt idx="129" formatCode="[$-10409]#\ ##0;\(#\ ##0\)">
                  <c:v>1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027161767020882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33:$A$262</c:f>
              <c:numCache>
                <c:formatCode>m/d/yyyy</c:formatCode>
                <c:ptCount val="130"/>
                <c:pt idx="0">
                  <c:v>44387</c:v>
                </c:pt>
                <c:pt idx="1">
                  <c:v>44388</c:v>
                </c:pt>
                <c:pt idx="2">
                  <c:v>44389</c:v>
                </c:pt>
                <c:pt idx="3">
                  <c:v>44390</c:v>
                </c:pt>
                <c:pt idx="4">
                  <c:v>44391</c:v>
                </c:pt>
                <c:pt idx="5">
                  <c:v>44392</c:v>
                </c:pt>
                <c:pt idx="6">
                  <c:v>44393</c:v>
                </c:pt>
                <c:pt idx="7">
                  <c:v>44394</c:v>
                </c:pt>
                <c:pt idx="8">
                  <c:v>44395</c:v>
                </c:pt>
                <c:pt idx="9">
                  <c:v>44396</c:v>
                </c:pt>
                <c:pt idx="10">
                  <c:v>44397</c:v>
                </c:pt>
                <c:pt idx="11">
                  <c:v>44398</c:v>
                </c:pt>
                <c:pt idx="12">
                  <c:v>44399</c:v>
                </c:pt>
                <c:pt idx="13">
                  <c:v>44400</c:v>
                </c:pt>
                <c:pt idx="14">
                  <c:v>44401</c:v>
                </c:pt>
                <c:pt idx="15">
                  <c:v>44402</c:v>
                </c:pt>
                <c:pt idx="16">
                  <c:v>44403</c:v>
                </c:pt>
                <c:pt idx="17">
                  <c:v>44404</c:v>
                </c:pt>
                <c:pt idx="18">
                  <c:v>44405</c:v>
                </c:pt>
                <c:pt idx="19">
                  <c:v>44406</c:v>
                </c:pt>
                <c:pt idx="20">
                  <c:v>44407</c:v>
                </c:pt>
                <c:pt idx="21">
                  <c:v>44408</c:v>
                </c:pt>
                <c:pt idx="22">
                  <c:v>44409</c:v>
                </c:pt>
                <c:pt idx="23">
                  <c:v>44410</c:v>
                </c:pt>
                <c:pt idx="24">
                  <c:v>44411</c:v>
                </c:pt>
                <c:pt idx="25">
                  <c:v>44412</c:v>
                </c:pt>
                <c:pt idx="26">
                  <c:v>44413</c:v>
                </c:pt>
                <c:pt idx="27">
                  <c:v>44414</c:v>
                </c:pt>
                <c:pt idx="28">
                  <c:v>44415</c:v>
                </c:pt>
                <c:pt idx="29">
                  <c:v>44416</c:v>
                </c:pt>
                <c:pt idx="30">
                  <c:v>44417</c:v>
                </c:pt>
                <c:pt idx="31">
                  <c:v>44418</c:v>
                </c:pt>
                <c:pt idx="32">
                  <c:v>44419</c:v>
                </c:pt>
                <c:pt idx="33">
                  <c:v>44420</c:v>
                </c:pt>
                <c:pt idx="34">
                  <c:v>44421</c:v>
                </c:pt>
                <c:pt idx="35">
                  <c:v>44422</c:v>
                </c:pt>
                <c:pt idx="36">
                  <c:v>44423</c:v>
                </c:pt>
                <c:pt idx="37">
                  <c:v>44424</c:v>
                </c:pt>
                <c:pt idx="38">
                  <c:v>44425</c:v>
                </c:pt>
                <c:pt idx="39">
                  <c:v>44426</c:v>
                </c:pt>
                <c:pt idx="40">
                  <c:v>44427</c:v>
                </c:pt>
                <c:pt idx="41">
                  <c:v>44428</c:v>
                </c:pt>
                <c:pt idx="42">
                  <c:v>44429</c:v>
                </c:pt>
                <c:pt idx="43">
                  <c:v>44430</c:v>
                </c:pt>
                <c:pt idx="44">
                  <c:v>44431</c:v>
                </c:pt>
                <c:pt idx="45">
                  <c:v>44432</c:v>
                </c:pt>
                <c:pt idx="46">
                  <c:v>44433</c:v>
                </c:pt>
                <c:pt idx="47">
                  <c:v>44434</c:v>
                </c:pt>
                <c:pt idx="48">
                  <c:v>44435</c:v>
                </c:pt>
                <c:pt idx="49">
                  <c:v>44436</c:v>
                </c:pt>
                <c:pt idx="50">
                  <c:v>44437</c:v>
                </c:pt>
                <c:pt idx="51">
                  <c:v>44438</c:v>
                </c:pt>
                <c:pt idx="52">
                  <c:v>44439</c:v>
                </c:pt>
                <c:pt idx="53">
                  <c:v>44440</c:v>
                </c:pt>
                <c:pt idx="54">
                  <c:v>44441</c:v>
                </c:pt>
                <c:pt idx="55">
                  <c:v>44442</c:v>
                </c:pt>
                <c:pt idx="56">
                  <c:v>44443</c:v>
                </c:pt>
                <c:pt idx="57">
                  <c:v>44444</c:v>
                </c:pt>
                <c:pt idx="58">
                  <c:v>44445</c:v>
                </c:pt>
                <c:pt idx="59">
                  <c:v>44446</c:v>
                </c:pt>
                <c:pt idx="60">
                  <c:v>44447</c:v>
                </c:pt>
                <c:pt idx="61">
                  <c:v>44448</c:v>
                </c:pt>
                <c:pt idx="62">
                  <c:v>44449</c:v>
                </c:pt>
                <c:pt idx="63">
                  <c:v>44450</c:v>
                </c:pt>
                <c:pt idx="64">
                  <c:v>44451</c:v>
                </c:pt>
                <c:pt idx="65">
                  <c:v>44452</c:v>
                </c:pt>
                <c:pt idx="66">
                  <c:v>44453</c:v>
                </c:pt>
                <c:pt idx="67">
                  <c:v>44454</c:v>
                </c:pt>
                <c:pt idx="68">
                  <c:v>44455</c:v>
                </c:pt>
                <c:pt idx="69">
                  <c:v>44456</c:v>
                </c:pt>
                <c:pt idx="70">
                  <c:v>44457</c:v>
                </c:pt>
                <c:pt idx="71">
                  <c:v>44458</c:v>
                </c:pt>
                <c:pt idx="72">
                  <c:v>44459</c:v>
                </c:pt>
                <c:pt idx="73">
                  <c:v>44460</c:v>
                </c:pt>
                <c:pt idx="74">
                  <c:v>44461</c:v>
                </c:pt>
                <c:pt idx="75">
                  <c:v>44462</c:v>
                </c:pt>
                <c:pt idx="76">
                  <c:v>44463</c:v>
                </c:pt>
                <c:pt idx="77">
                  <c:v>44464</c:v>
                </c:pt>
                <c:pt idx="78">
                  <c:v>44465</c:v>
                </c:pt>
                <c:pt idx="79">
                  <c:v>44466</c:v>
                </c:pt>
                <c:pt idx="80">
                  <c:v>44467</c:v>
                </c:pt>
                <c:pt idx="81">
                  <c:v>44468</c:v>
                </c:pt>
                <c:pt idx="82">
                  <c:v>44469</c:v>
                </c:pt>
                <c:pt idx="83">
                  <c:v>44470</c:v>
                </c:pt>
                <c:pt idx="84">
                  <c:v>44471</c:v>
                </c:pt>
                <c:pt idx="85">
                  <c:v>44472</c:v>
                </c:pt>
                <c:pt idx="86">
                  <c:v>44473</c:v>
                </c:pt>
                <c:pt idx="87">
                  <c:v>44474</c:v>
                </c:pt>
                <c:pt idx="88">
                  <c:v>44475</c:v>
                </c:pt>
                <c:pt idx="89">
                  <c:v>44476</c:v>
                </c:pt>
                <c:pt idx="90">
                  <c:v>44477</c:v>
                </c:pt>
                <c:pt idx="91">
                  <c:v>44478</c:v>
                </c:pt>
                <c:pt idx="92">
                  <c:v>44479</c:v>
                </c:pt>
                <c:pt idx="93">
                  <c:v>44480</c:v>
                </c:pt>
                <c:pt idx="94">
                  <c:v>44481</c:v>
                </c:pt>
                <c:pt idx="95">
                  <c:v>44482</c:v>
                </c:pt>
                <c:pt idx="96">
                  <c:v>44483</c:v>
                </c:pt>
                <c:pt idx="97">
                  <c:v>44484</c:v>
                </c:pt>
                <c:pt idx="98">
                  <c:v>44485</c:v>
                </c:pt>
                <c:pt idx="99">
                  <c:v>44486</c:v>
                </c:pt>
                <c:pt idx="100">
                  <c:v>44487</c:v>
                </c:pt>
                <c:pt idx="101">
                  <c:v>44488</c:v>
                </c:pt>
                <c:pt idx="102">
                  <c:v>44489</c:v>
                </c:pt>
                <c:pt idx="103">
                  <c:v>44490</c:v>
                </c:pt>
                <c:pt idx="104">
                  <c:v>44491</c:v>
                </c:pt>
                <c:pt idx="105">
                  <c:v>44492</c:v>
                </c:pt>
                <c:pt idx="106">
                  <c:v>44493</c:v>
                </c:pt>
                <c:pt idx="107">
                  <c:v>44494</c:v>
                </c:pt>
                <c:pt idx="108">
                  <c:v>44495</c:v>
                </c:pt>
                <c:pt idx="109">
                  <c:v>44496</c:v>
                </c:pt>
                <c:pt idx="110">
                  <c:v>44497</c:v>
                </c:pt>
                <c:pt idx="111">
                  <c:v>44498</c:v>
                </c:pt>
                <c:pt idx="112">
                  <c:v>44499</c:v>
                </c:pt>
                <c:pt idx="113">
                  <c:v>44500</c:v>
                </c:pt>
                <c:pt idx="114">
                  <c:v>44501</c:v>
                </c:pt>
                <c:pt idx="115">
                  <c:v>44502</c:v>
                </c:pt>
                <c:pt idx="116">
                  <c:v>44503</c:v>
                </c:pt>
                <c:pt idx="117">
                  <c:v>44504</c:v>
                </c:pt>
                <c:pt idx="118">
                  <c:v>44505</c:v>
                </c:pt>
                <c:pt idx="119">
                  <c:v>44506</c:v>
                </c:pt>
                <c:pt idx="120">
                  <c:v>44507</c:v>
                </c:pt>
                <c:pt idx="121">
                  <c:v>44508</c:v>
                </c:pt>
                <c:pt idx="122">
                  <c:v>44509</c:v>
                </c:pt>
                <c:pt idx="123">
                  <c:v>44510</c:v>
                </c:pt>
                <c:pt idx="124">
                  <c:v>44511</c:v>
                </c:pt>
                <c:pt idx="125">
                  <c:v>44512</c:v>
                </c:pt>
                <c:pt idx="126">
                  <c:v>44513</c:v>
                </c:pt>
                <c:pt idx="127">
                  <c:v>44514</c:v>
                </c:pt>
                <c:pt idx="128">
                  <c:v>44515</c:v>
                </c:pt>
                <c:pt idx="129">
                  <c:v>44516</c:v>
                </c:pt>
              </c:numCache>
            </c:numRef>
          </c:cat>
          <c:val>
            <c:numRef>
              <c:f>Sheet1!$B$133:$B$262</c:f>
              <c:numCache>
                <c:formatCode>[$-10409]#\ ##0;\(#\ ##0\)</c:formatCode>
                <c:ptCount val="130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2</c:v>
                </c:pt>
                <c:pt idx="5">
                  <c:v>1</c:v>
                </c:pt>
                <c:pt idx="6">
                  <c:v>5</c:v>
                </c:pt>
                <c:pt idx="7">
                  <c:v>3</c:v>
                </c:pt>
                <c:pt idx="8">
                  <c:v>2</c:v>
                </c:pt>
                <c:pt idx="9">
                  <c:v>7</c:v>
                </c:pt>
                <c:pt idx="10">
                  <c:v>2</c:v>
                </c:pt>
                <c:pt idx="11">
                  <c:v>4</c:v>
                </c:pt>
                <c:pt idx="12">
                  <c:v>1</c:v>
                </c:pt>
                <c:pt idx="13">
                  <c:v>6</c:v>
                </c:pt>
                <c:pt idx="14">
                  <c:v>2</c:v>
                </c:pt>
                <c:pt idx="15">
                  <c:v>0</c:v>
                </c:pt>
                <c:pt idx="16">
                  <c:v>8</c:v>
                </c:pt>
                <c:pt idx="17">
                  <c:v>1</c:v>
                </c:pt>
                <c:pt idx="18">
                  <c:v>5</c:v>
                </c:pt>
                <c:pt idx="19">
                  <c:v>6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6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0</c:v>
                </c:pt>
                <c:pt idx="29">
                  <c:v>2</c:v>
                </c:pt>
                <c:pt idx="30">
                  <c:v>3</c:v>
                </c:pt>
                <c:pt idx="31">
                  <c:v>4</c:v>
                </c:pt>
                <c:pt idx="32">
                  <c:v>5</c:v>
                </c:pt>
                <c:pt idx="33">
                  <c:v>3</c:v>
                </c:pt>
                <c:pt idx="34">
                  <c:v>3</c:v>
                </c:pt>
                <c:pt idx="35">
                  <c:v>1</c:v>
                </c:pt>
                <c:pt idx="36">
                  <c:v>1</c:v>
                </c:pt>
                <c:pt idx="37">
                  <c:v>5</c:v>
                </c:pt>
                <c:pt idx="38">
                  <c:v>4</c:v>
                </c:pt>
                <c:pt idx="39">
                  <c:v>5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2</c:v>
                </c:pt>
                <c:pt idx="44">
                  <c:v>5</c:v>
                </c:pt>
                <c:pt idx="45">
                  <c:v>9</c:v>
                </c:pt>
                <c:pt idx="46">
                  <c:v>9</c:v>
                </c:pt>
                <c:pt idx="47">
                  <c:v>4</c:v>
                </c:pt>
                <c:pt idx="48">
                  <c:v>4</c:v>
                </c:pt>
                <c:pt idx="49">
                  <c:v>2</c:v>
                </c:pt>
                <c:pt idx="50">
                  <c:v>0</c:v>
                </c:pt>
                <c:pt idx="51">
                  <c:v>3</c:v>
                </c:pt>
                <c:pt idx="52">
                  <c:v>7</c:v>
                </c:pt>
                <c:pt idx="53">
                  <c:v>16</c:v>
                </c:pt>
                <c:pt idx="54">
                  <c:v>9</c:v>
                </c:pt>
                <c:pt idx="55">
                  <c:v>18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0</c:v>
                </c:pt>
                <c:pt idx="61">
                  <c:v>9</c:v>
                </c:pt>
                <c:pt idx="62">
                  <c:v>14</c:v>
                </c:pt>
                <c:pt idx="63">
                  <c:v>4</c:v>
                </c:pt>
                <c:pt idx="64">
                  <c:v>3</c:v>
                </c:pt>
                <c:pt idx="65">
                  <c:v>17</c:v>
                </c:pt>
                <c:pt idx="66">
                  <c:v>23</c:v>
                </c:pt>
                <c:pt idx="67">
                  <c:v>15</c:v>
                </c:pt>
                <c:pt idx="68">
                  <c:v>14</c:v>
                </c:pt>
                <c:pt idx="69">
                  <c:v>21</c:v>
                </c:pt>
                <c:pt idx="70">
                  <c:v>6</c:v>
                </c:pt>
                <c:pt idx="71">
                  <c:v>7</c:v>
                </c:pt>
                <c:pt idx="72">
                  <c:v>21</c:v>
                </c:pt>
                <c:pt idx="73">
                  <c:v>21</c:v>
                </c:pt>
                <c:pt idx="74">
                  <c:v>14</c:v>
                </c:pt>
                <c:pt idx="75">
                  <c:v>11</c:v>
                </c:pt>
                <c:pt idx="76">
                  <c:v>22</c:v>
                </c:pt>
                <c:pt idx="77">
                  <c:v>8</c:v>
                </c:pt>
                <c:pt idx="78">
                  <c:v>8</c:v>
                </c:pt>
                <c:pt idx="79">
                  <c:v>22</c:v>
                </c:pt>
                <c:pt idx="80">
                  <c:v>10</c:v>
                </c:pt>
                <c:pt idx="81">
                  <c:v>24</c:v>
                </c:pt>
                <c:pt idx="82">
                  <c:v>23</c:v>
                </c:pt>
                <c:pt idx="83">
                  <c:v>31</c:v>
                </c:pt>
                <c:pt idx="84">
                  <c:v>22</c:v>
                </c:pt>
                <c:pt idx="85">
                  <c:v>17</c:v>
                </c:pt>
                <c:pt idx="86">
                  <c:v>33</c:v>
                </c:pt>
                <c:pt idx="87">
                  <c:v>43</c:v>
                </c:pt>
                <c:pt idx="88">
                  <c:v>63</c:v>
                </c:pt>
                <c:pt idx="89">
                  <c:v>38</c:v>
                </c:pt>
                <c:pt idx="90">
                  <c:v>56</c:v>
                </c:pt>
                <c:pt idx="91">
                  <c:v>18</c:v>
                </c:pt>
                <c:pt idx="92">
                  <c:v>11</c:v>
                </c:pt>
                <c:pt idx="93">
                  <c:v>48</c:v>
                </c:pt>
                <c:pt idx="94">
                  <c:v>59</c:v>
                </c:pt>
                <c:pt idx="95">
                  <c:v>62</c:v>
                </c:pt>
                <c:pt idx="96">
                  <c:v>56</c:v>
                </c:pt>
                <c:pt idx="97">
                  <c:v>93</c:v>
                </c:pt>
                <c:pt idx="98">
                  <c:v>41</c:v>
                </c:pt>
                <c:pt idx="99">
                  <c:v>21</c:v>
                </c:pt>
                <c:pt idx="100">
                  <c:v>105</c:v>
                </c:pt>
                <c:pt idx="101">
                  <c:v>140</c:v>
                </c:pt>
                <c:pt idx="102">
                  <c:v>148</c:v>
                </c:pt>
                <c:pt idx="103">
                  <c:v>129</c:v>
                </c:pt>
                <c:pt idx="104">
                  <c:v>182</c:v>
                </c:pt>
                <c:pt idx="105">
                  <c:v>83</c:v>
                </c:pt>
                <c:pt idx="106">
                  <c:v>70</c:v>
                </c:pt>
                <c:pt idx="107">
                  <c:v>194</c:v>
                </c:pt>
                <c:pt idx="108">
                  <c:v>234</c:v>
                </c:pt>
                <c:pt idx="109">
                  <c:v>228</c:v>
                </c:pt>
                <c:pt idx="110">
                  <c:v>130</c:v>
                </c:pt>
                <c:pt idx="111">
                  <c:v>273</c:v>
                </c:pt>
                <c:pt idx="112">
                  <c:v>160</c:v>
                </c:pt>
                <c:pt idx="113">
                  <c:v>136</c:v>
                </c:pt>
                <c:pt idx="114">
                  <c:v>403</c:v>
                </c:pt>
                <c:pt idx="115">
                  <c:v>358</c:v>
                </c:pt>
                <c:pt idx="116">
                  <c:v>439</c:v>
                </c:pt>
                <c:pt idx="117">
                  <c:v>428</c:v>
                </c:pt>
                <c:pt idx="118">
                  <c:v>430</c:v>
                </c:pt>
                <c:pt idx="119">
                  <c:v>225</c:v>
                </c:pt>
                <c:pt idx="120">
                  <c:v>136</c:v>
                </c:pt>
                <c:pt idx="121">
                  <c:v>498</c:v>
                </c:pt>
                <c:pt idx="122">
                  <c:v>553</c:v>
                </c:pt>
                <c:pt idx="123">
                  <c:v>546</c:v>
                </c:pt>
                <c:pt idx="124">
                  <c:v>444</c:v>
                </c:pt>
                <c:pt idx="125">
                  <c:v>553</c:v>
                </c:pt>
                <c:pt idx="126">
                  <c:v>296</c:v>
                </c:pt>
                <c:pt idx="127">
                  <c:v>185</c:v>
                </c:pt>
                <c:pt idx="128">
                  <c:v>622</c:v>
                </c:pt>
                <c:pt idx="129">
                  <c:v>7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2</c:v>
                </c:pt>
                <c:pt idx="4">
                  <c:v>182</c:v>
                </c:pt>
                <c:pt idx="5">
                  <c:v>171</c:v>
                </c:pt>
                <c:pt idx="6">
                  <c:v>176</c:v>
                </c:pt>
                <c:pt idx="7">
                  <c:v>92</c:v>
                </c:pt>
                <c:pt idx="8">
                  <c:v>102</c:v>
                </c:pt>
                <c:pt idx="9">
                  <c:v>176</c:v>
                </c:pt>
                <c:pt idx="10">
                  <c:v>139</c:v>
                </c:pt>
                <c:pt idx="11">
                  <c:v>138</c:v>
                </c:pt>
                <c:pt idx="12">
                  <c:v>121</c:v>
                </c:pt>
                <c:pt idx="13">
                  <c:v>105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5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3</c:v>
                </c:pt>
                <c:pt idx="71">
                  <c:v>5</c:v>
                </c:pt>
                <c:pt idx="72">
                  <c:v>8</c:v>
                </c:pt>
                <c:pt idx="74">
                  <c:v>5</c:v>
                </c:pt>
                <c:pt idx="75">
                  <c:v>6</c:v>
                </c:pt>
                <c:pt idx="76">
                  <c:v>6</c:v>
                </c:pt>
                <c:pt idx="77">
                  <c:v>4</c:v>
                </c:pt>
                <c:pt idx="78">
                  <c:v>2</c:v>
                </c:pt>
                <c:pt idx="79">
                  <c:v>10</c:v>
                </c:pt>
                <c:pt idx="80">
                  <c:v>5</c:v>
                </c:pt>
                <c:pt idx="81">
                  <c:v>6</c:v>
                </c:pt>
                <c:pt idx="82">
                  <c:v>6</c:v>
                </c:pt>
                <c:pt idx="83">
                  <c:v>5</c:v>
                </c:pt>
                <c:pt idx="84">
                  <c:v>6</c:v>
                </c:pt>
                <c:pt idx="85">
                  <c:v>8</c:v>
                </c:pt>
                <c:pt idx="86">
                  <c:v>14</c:v>
                </c:pt>
                <c:pt idx="87">
                  <c:v>3</c:v>
                </c:pt>
                <c:pt idx="88">
                  <c:v>7</c:v>
                </c:pt>
                <c:pt idx="89">
                  <c:v>11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9</c:v>
                </c:pt>
                <c:pt idx="94">
                  <c:v>3</c:v>
                </c:pt>
                <c:pt idx="95">
                  <c:v>12</c:v>
                </c:pt>
                <c:pt idx="96">
                  <c:v>3</c:v>
                </c:pt>
                <c:pt idx="97">
                  <c:v>9</c:v>
                </c:pt>
                <c:pt idx="98">
                  <c:v>6</c:v>
                </c:pt>
                <c:pt idx="99">
                  <c:v>2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5</c:v>
                </c:pt>
                <c:pt idx="104">
                  <c:v>6</c:v>
                </c:pt>
                <c:pt idx="105">
                  <c:v>9</c:v>
                </c:pt>
                <c:pt idx="106">
                  <c:v>5</c:v>
                </c:pt>
                <c:pt idx="107">
                  <c:v>10</c:v>
                </c:pt>
                <c:pt idx="108">
                  <c:v>7</c:v>
                </c:pt>
                <c:pt idx="109">
                  <c:v>9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6</c:v>
                </c:pt>
                <c:pt idx="114">
                  <c:v>8</c:v>
                </c:pt>
                <c:pt idx="115">
                  <c:v>11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5</c:v>
                </c:pt>
                <c:pt idx="120">
                  <c:v>3</c:v>
                </c:pt>
                <c:pt idx="121">
                  <c:v>4</c:v>
                </c:pt>
                <c:pt idx="122">
                  <c:v>9</c:v>
                </c:pt>
                <c:pt idx="123">
                  <c:v>15</c:v>
                </c:pt>
                <c:pt idx="124">
                  <c:v>10</c:v>
                </c:pt>
                <c:pt idx="125">
                  <c:v>14</c:v>
                </c:pt>
                <c:pt idx="126">
                  <c:v>7</c:v>
                </c:pt>
                <c:pt idx="127">
                  <c:v>10</c:v>
                </c:pt>
                <c:pt idx="128">
                  <c:v>17</c:v>
                </c:pt>
                <c:pt idx="129">
                  <c:v>13</c:v>
                </c:pt>
                <c:pt idx="130">
                  <c:v>15</c:v>
                </c:pt>
                <c:pt idx="131">
                  <c:v>16</c:v>
                </c:pt>
                <c:pt idx="132">
                  <c:v>13</c:v>
                </c:pt>
                <c:pt idx="133">
                  <c:v>12</c:v>
                </c:pt>
                <c:pt idx="134">
                  <c:v>17</c:v>
                </c:pt>
                <c:pt idx="135">
                  <c:v>29</c:v>
                </c:pt>
                <c:pt idx="136">
                  <c:v>25</c:v>
                </c:pt>
                <c:pt idx="137">
                  <c:v>17</c:v>
                </c:pt>
                <c:pt idx="138">
                  <c:v>19</c:v>
                </c:pt>
                <c:pt idx="139">
                  <c:v>31</c:v>
                </c:pt>
                <c:pt idx="140">
                  <c:v>9</c:v>
                </c:pt>
                <c:pt idx="141">
                  <c:v>14</c:v>
                </c:pt>
                <c:pt idx="142">
                  <c:v>23</c:v>
                </c:pt>
                <c:pt idx="143">
                  <c:v>19</c:v>
                </c:pt>
                <c:pt idx="144">
                  <c:v>17</c:v>
                </c:pt>
                <c:pt idx="145">
                  <c:v>21</c:v>
                </c:pt>
                <c:pt idx="146">
                  <c:v>27</c:v>
                </c:pt>
                <c:pt idx="147">
                  <c:v>20</c:v>
                </c:pt>
                <c:pt idx="148">
                  <c:v>16</c:v>
                </c:pt>
                <c:pt idx="149">
                  <c:v>34</c:v>
                </c:pt>
                <c:pt idx="150">
                  <c:v>16</c:v>
                </c:pt>
                <c:pt idx="151">
                  <c:v>36</c:v>
                </c:pt>
                <c:pt idx="152">
                  <c:v>32</c:v>
                </c:pt>
                <c:pt idx="153">
                  <c:v>31</c:v>
                </c:pt>
                <c:pt idx="154">
                  <c:v>27</c:v>
                </c:pt>
                <c:pt idx="155">
                  <c:v>25</c:v>
                </c:pt>
                <c:pt idx="156">
                  <c:v>53</c:v>
                </c:pt>
                <c:pt idx="157">
                  <c:v>40</c:v>
                </c:pt>
                <c:pt idx="158">
                  <c:v>53</c:v>
                </c:pt>
                <c:pt idx="159">
                  <c:v>39</c:v>
                </c:pt>
                <c:pt idx="160">
                  <c:v>51</c:v>
                </c:pt>
                <c:pt idx="161">
                  <c:v>30</c:v>
                </c:pt>
                <c:pt idx="162">
                  <c:v>34</c:v>
                </c:pt>
                <c:pt idx="163">
                  <c:v>80</c:v>
                </c:pt>
                <c:pt idx="164">
                  <c:v>62</c:v>
                </c:pt>
                <c:pt idx="165">
                  <c:v>63</c:v>
                </c:pt>
                <c:pt idx="166">
                  <c:v>57</c:v>
                </c:pt>
                <c:pt idx="167">
                  <c:v>82</c:v>
                </c:pt>
                <c:pt idx="168">
                  <c:v>70</c:v>
                </c:pt>
                <c:pt idx="169">
                  <c:v>50</c:v>
                </c:pt>
                <c:pt idx="170">
                  <c:v>133</c:v>
                </c:pt>
                <c:pt idx="171">
                  <c:v>142</c:v>
                </c:pt>
                <c:pt idx="172">
                  <c:v>117</c:v>
                </c:pt>
                <c:pt idx="173">
                  <c:v>122</c:v>
                </c:pt>
                <c:pt idx="174">
                  <c:v>158</c:v>
                </c:pt>
                <c:pt idx="175">
                  <c:v>112</c:v>
                </c:pt>
                <c:pt idx="176">
                  <c:v>110</c:v>
                </c:pt>
                <c:pt idx="177">
                  <c:v>216</c:v>
                </c:pt>
                <c:pt idx="178">
                  <c:v>261</c:v>
                </c:pt>
                <c:pt idx="179">
                  <c:v>239</c:v>
                </c:pt>
                <c:pt idx="180">
                  <c:v>169</c:v>
                </c:pt>
                <c:pt idx="181">
                  <c:v>270</c:v>
                </c:pt>
                <c:pt idx="182">
                  <c:v>189</c:v>
                </c:pt>
                <c:pt idx="183">
                  <c:v>203</c:v>
                </c:pt>
                <c:pt idx="184">
                  <c:v>411</c:v>
                </c:pt>
                <c:pt idx="185">
                  <c:v>391</c:v>
                </c:pt>
                <c:pt idx="186">
                  <c:v>382</c:v>
                </c:pt>
                <c:pt idx="187">
                  <c:v>385</c:v>
                </c:pt>
                <c:pt idx="188">
                  <c:v>351</c:v>
                </c:pt>
                <c:pt idx="189">
                  <c:v>280</c:v>
                </c:pt>
                <c:pt idx="190">
                  <c:v>277</c:v>
                </c:pt>
                <c:pt idx="191">
                  <c:v>523</c:v>
                </c:pt>
                <c:pt idx="192">
                  <c:v>520</c:v>
                </c:pt>
                <c:pt idx="193">
                  <c:v>450</c:v>
                </c:pt>
                <c:pt idx="194">
                  <c:v>469</c:v>
                </c:pt>
                <c:pt idx="195">
                  <c:v>467</c:v>
                </c:pt>
                <c:pt idx="196">
                  <c:v>311</c:v>
                </c:pt>
                <c:pt idx="197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A7-4D9A-8C9E-78CAA4FB8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139.65993792819791</c:v>
                </c:pt>
                <c:pt idx="1">
                  <c:v>137.08635260959272</c:v>
                </c:pt>
                <c:pt idx="2">
                  <c:v>133.27637078842963</c:v>
                </c:pt>
                <c:pt idx="3">
                  <c:v>129.35409554172656</c:v>
                </c:pt>
                <c:pt idx="4">
                  <c:v>124.332784227925</c:v>
                </c:pt>
                <c:pt idx="5">
                  <c:v>119.09084387710027</c:v>
                </c:pt>
                <c:pt idx="6">
                  <c:v>114.59973425243516</c:v>
                </c:pt>
                <c:pt idx="7">
                  <c:v>110.27716167934705</c:v>
                </c:pt>
                <c:pt idx="8">
                  <c:v>105.71297996758949</c:v>
                </c:pt>
                <c:pt idx="9">
                  <c:v>101.26732064466341</c:v>
                </c:pt>
                <c:pt idx="10">
                  <c:v>97.314880390360486</c:v>
                </c:pt>
                <c:pt idx="11">
                  <c:v>93.338850519794505</c:v>
                </c:pt>
                <c:pt idx="12">
                  <c:v>89.15481833240483</c:v>
                </c:pt>
                <c:pt idx="13">
                  <c:v>85.302967474155594</c:v>
                </c:pt>
                <c:pt idx="14">
                  <c:v>82.0170131775958</c:v>
                </c:pt>
                <c:pt idx="15">
                  <c:v>78.467502174346009</c:v>
                </c:pt>
                <c:pt idx="16">
                  <c:v>75.078432513808366</c:v>
                </c:pt>
                <c:pt idx="17">
                  <c:v>71.766382134228479</c:v>
                </c:pt>
                <c:pt idx="18">
                  <c:v>68.17018428479787</c:v>
                </c:pt>
                <c:pt idx="19">
                  <c:v>64.477729284815723</c:v>
                </c:pt>
                <c:pt idx="20">
                  <c:v>60.878049029764952</c:v>
                </c:pt>
                <c:pt idx="21">
                  <c:v>57.535300651710713</c:v>
                </c:pt>
                <c:pt idx="22">
                  <c:v>54.314253830176312</c:v>
                </c:pt>
                <c:pt idx="23">
                  <c:v>51.120821735326899</c:v>
                </c:pt>
                <c:pt idx="24">
                  <c:v>48.110979723016499</c:v>
                </c:pt>
                <c:pt idx="25">
                  <c:v>45.263314949785126</c:v>
                </c:pt>
                <c:pt idx="26">
                  <c:v>42.570709502528189</c:v>
                </c:pt>
                <c:pt idx="27">
                  <c:v>40.020233393122908</c:v>
                </c:pt>
                <c:pt idx="28">
                  <c:v>37.605433053628076</c:v>
                </c:pt>
                <c:pt idx="29">
                  <c:v>35.326144520222442</c:v>
                </c:pt>
                <c:pt idx="30">
                  <c:v>33.178998366987798</c:v>
                </c:pt>
                <c:pt idx="31">
                  <c:v>31.153645326907281</c:v>
                </c:pt>
                <c:pt idx="32">
                  <c:v>29.242548940703273</c:v>
                </c:pt>
                <c:pt idx="33">
                  <c:v>27.437910032342188</c:v>
                </c:pt>
                <c:pt idx="34">
                  <c:v>25.73203517193906</c:v>
                </c:pt>
                <c:pt idx="35">
                  <c:v>24.119329324545106</c:v>
                </c:pt>
                <c:pt idx="36">
                  <c:v>22.597655225399649</c:v>
                </c:pt>
                <c:pt idx="37">
                  <c:v>21.166233477066271</c:v>
                </c:pt>
                <c:pt idx="38">
                  <c:v>19.932986658095615</c:v>
                </c:pt>
                <c:pt idx="39">
                  <c:v>18.850491471472196</c:v>
                </c:pt>
                <c:pt idx="40">
                  <c:v>17.877157486393116</c:v>
                </c:pt>
                <c:pt idx="41">
                  <c:v>16.985778584465152</c:v>
                </c:pt>
                <c:pt idx="42">
                  <c:v>16.161150507803541</c:v>
                </c:pt>
                <c:pt idx="43">
                  <c:v>15.39957051849342</c:v>
                </c:pt>
                <c:pt idx="44">
                  <c:v>14.700013206282165</c:v>
                </c:pt>
                <c:pt idx="45">
                  <c:v>14.052764540945645</c:v>
                </c:pt>
                <c:pt idx="46">
                  <c:v>13.450227428314975</c:v>
                </c:pt>
                <c:pt idx="47">
                  <c:v>12.883896550512873</c:v>
                </c:pt>
                <c:pt idx="48">
                  <c:v>12.347935659170616</c:v>
                </c:pt>
                <c:pt idx="49">
                  <c:v>11.83944315550616</c:v>
                </c:pt>
                <c:pt idx="50">
                  <c:v>11.359310383035336</c:v>
                </c:pt>
                <c:pt idx="51">
                  <c:v>10.908419969491661</c:v>
                </c:pt>
                <c:pt idx="52">
                  <c:v>10.482358451845357</c:v>
                </c:pt>
                <c:pt idx="53">
                  <c:v>10.076573088153964</c:v>
                </c:pt>
                <c:pt idx="54">
                  <c:v>9.6882868957472965</c:v>
                </c:pt>
                <c:pt idx="55">
                  <c:v>9.3149495795951225</c:v>
                </c:pt>
                <c:pt idx="56">
                  <c:v>8.9555687728861813</c:v>
                </c:pt>
                <c:pt idx="57">
                  <c:v>8.6121411337226164</c:v>
                </c:pt>
                <c:pt idx="58">
                  <c:v>8.3627865586895496</c:v>
                </c:pt>
                <c:pt idx="59">
                  <c:v>8.2490853264462203</c:v>
                </c:pt>
                <c:pt idx="60">
                  <c:v>8.2231420744210482</c:v>
                </c:pt>
                <c:pt idx="61">
                  <c:v>8.2487806382996496</c:v>
                </c:pt>
                <c:pt idx="62">
                  <c:v>8.3041043518751394</c:v>
                </c:pt>
                <c:pt idx="63">
                  <c:v>8.3764497038209811</c:v>
                </c:pt>
                <c:pt idx="64">
                  <c:v>8.4616787693812512</c:v>
                </c:pt>
                <c:pt idx="65">
                  <c:v>8.5571567183651496</c:v>
                </c:pt>
                <c:pt idx="66">
                  <c:v>8.6582926634582691</c:v>
                </c:pt>
                <c:pt idx="67">
                  <c:v>8.7601519718882628</c:v>
                </c:pt>
                <c:pt idx="68">
                  <c:v>8.8588262627599761</c:v>
                </c:pt>
                <c:pt idx="69">
                  <c:v>8.977369830099633</c:v>
                </c:pt>
                <c:pt idx="70">
                  <c:v>9.1073047791433055</c:v>
                </c:pt>
                <c:pt idx="71">
                  <c:v>9.2387895193533041</c:v>
                </c:pt>
                <c:pt idx="72">
                  <c:v>9.3665363434993196</c:v>
                </c:pt>
                <c:pt idx="73">
                  <c:v>9.4863475258462131</c:v>
                </c:pt>
                <c:pt idx="74">
                  <c:v>9.5946482936269604</c:v>
                </c:pt>
                <c:pt idx="75">
                  <c:v>9.6873885850363877</c:v>
                </c:pt>
                <c:pt idx="76">
                  <c:v>9.7619893636147026</c:v>
                </c:pt>
                <c:pt idx="77">
                  <c:v>9.8184310720534995</c:v>
                </c:pt>
                <c:pt idx="78">
                  <c:v>9.8585865728382487</c:v>
                </c:pt>
                <c:pt idx="79">
                  <c:v>9.8845565306546632</c:v>
                </c:pt>
                <c:pt idx="80">
                  <c:v>9.8966848229756579</c:v>
                </c:pt>
                <c:pt idx="81">
                  <c:v>9.894661766680656</c:v>
                </c:pt>
                <c:pt idx="82">
                  <c:v>9.8783229951804969</c:v>
                </c:pt>
                <c:pt idx="83">
                  <c:v>9.8480787457956467</c:v>
                </c:pt>
                <c:pt idx="84">
                  <c:v>9.8049308377958369</c:v>
                </c:pt>
                <c:pt idx="85">
                  <c:v>9.7514291248808149</c:v>
                </c:pt>
                <c:pt idx="86">
                  <c:v>9.689556294324575</c:v>
                </c:pt>
                <c:pt idx="87">
                  <c:v>9.6191558500868268</c:v>
                </c:pt>
                <c:pt idx="88">
                  <c:v>9.5400273053091951</c:v>
                </c:pt>
                <c:pt idx="89">
                  <c:v>9.4521548709017225</c:v>
                </c:pt>
                <c:pt idx="90">
                  <c:v>9.3559003158006817</c:v>
                </c:pt>
                <c:pt idx="91">
                  <c:v>9.2522491502168123</c:v>
                </c:pt>
                <c:pt idx="92">
                  <c:v>9.1426639756828081</c:v>
                </c:pt>
                <c:pt idx="93">
                  <c:v>9.0283867571270093</c:v>
                </c:pt>
                <c:pt idx="94">
                  <c:v>8.90933048754232</c:v>
                </c:pt>
                <c:pt idx="95">
                  <c:v>8.7852924233302474</c:v>
                </c:pt>
                <c:pt idx="96">
                  <c:v>8.6563643725239672</c:v>
                </c:pt>
                <c:pt idx="97">
                  <c:v>8.5228526107675862</c:v>
                </c:pt>
                <c:pt idx="98">
                  <c:v>8.3852893574221525</c:v>
                </c:pt>
                <c:pt idx="99">
                  <c:v>8.2447583361936267</c:v>
                </c:pt>
                <c:pt idx="100">
                  <c:v>8.199109719338594</c:v>
                </c:pt>
                <c:pt idx="101">
                  <c:v>8.2201315871207044</c:v>
                </c:pt>
                <c:pt idx="102">
                  <c:v>8.2809232457366306</c:v>
                </c:pt>
                <c:pt idx="103">
                  <c:v>8.3666473571502138</c:v>
                </c:pt>
                <c:pt idx="104">
                  <c:v>8.4688029038952664</c:v>
                </c:pt>
                <c:pt idx="105">
                  <c:v>8.5830369594623335</c:v>
                </c:pt>
                <c:pt idx="106">
                  <c:v>8.7081534798780922</c:v>
                </c:pt>
                <c:pt idx="107">
                  <c:v>8.8425129036186263</c:v>
                </c:pt>
                <c:pt idx="108">
                  <c:v>8.9840597430884372</c:v>
                </c:pt>
                <c:pt idx="109">
                  <c:v>9.1294293746759649</c:v>
                </c:pt>
                <c:pt idx="110">
                  <c:v>9.2764987041882705</c:v>
                </c:pt>
                <c:pt idx="111">
                  <c:v>9.4241899214976002</c:v>
                </c:pt>
                <c:pt idx="112">
                  <c:v>9.5706246052577626</c:v>
                </c:pt>
                <c:pt idx="113">
                  <c:v>9.715997125080321</c:v>
                </c:pt>
                <c:pt idx="114">
                  <c:v>9.8604286588379182</c:v>
                </c:pt>
                <c:pt idx="115">
                  <c:v>10.002605269546621</c:v>
                </c:pt>
                <c:pt idx="116">
                  <c:v>10.141966385301203</c:v>
                </c:pt>
                <c:pt idx="117">
                  <c:v>10.277410079492256</c:v>
                </c:pt>
                <c:pt idx="118">
                  <c:v>10.408253558445722</c:v>
                </c:pt>
                <c:pt idx="119">
                  <c:v>10.534401607961627</c:v>
                </c:pt>
                <c:pt idx="120">
                  <c:v>10.656422225612914</c:v>
                </c:pt>
                <c:pt idx="121">
                  <c:v>10.774824179679854</c:v>
                </c:pt>
                <c:pt idx="122">
                  <c:v>10.889145150169497</c:v>
                </c:pt>
                <c:pt idx="123">
                  <c:v>10.998710984771606</c:v>
                </c:pt>
                <c:pt idx="124">
                  <c:v>11.103197678457946</c:v>
                </c:pt>
                <c:pt idx="125">
                  <c:v>11.202558774675708</c:v>
                </c:pt>
                <c:pt idx="126">
                  <c:v>11.297057176823728</c:v>
                </c:pt>
                <c:pt idx="127">
                  <c:v>11.387338692264166</c:v>
                </c:pt>
                <c:pt idx="128">
                  <c:v>11.473910518776393</c:v>
                </c:pt>
                <c:pt idx="129">
                  <c:v>11.556496536766645</c:v>
                </c:pt>
                <c:pt idx="130">
                  <c:v>11.634940046729753</c:v>
                </c:pt>
                <c:pt idx="131">
                  <c:v>11.789519763085991</c:v>
                </c:pt>
                <c:pt idx="132">
                  <c:v>12.000131232023705</c:v>
                </c:pt>
                <c:pt idx="133">
                  <c:v>12.257591494097142</c:v>
                </c:pt>
                <c:pt idx="134">
                  <c:v>12.560999586654361</c:v>
                </c:pt>
                <c:pt idx="135">
                  <c:v>12.913224306248594</c:v>
                </c:pt>
                <c:pt idx="136">
                  <c:v>13.31921128774411</c:v>
                </c:pt>
                <c:pt idx="137">
                  <c:v>13.783173243311467</c:v>
                </c:pt>
                <c:pt idx="138">
                  <c:v>14.307547685195459</c:v>
                </c:pt>
                <c:pt idx="139">
                  <c:v>14.894133341440465</c:v>
                </c:pt>
                <c:pt idx="140">
                  <c:v>15.542985092848539</c:v>
                </c:pt>
                <c:pt idx="141">
                  <c:v>16.254943119827658</c:v>
                </c:pt>
                <c:pt idx="142">
                  <c:v>17.030695225315867</c:v>
                </c:pt>
                <c:pt idx="143">
                  <c:v>17.869556388817728</c:v>
                </c:pt>
                <c:pt idx="144">
                  <c:v>18.772447630559327</c:v>
                </c:pt>
                <c:pt idx="145">
                  <c:v>19.740583779552253</c:v>
                </c:pt>
                <c:pt idx="146">
                  <c:v>20.774975642969366</c:v>
                </c:pt>
                <c:pt idx="147">
                  <c:v>21.87740477497573</c:v>
                </c:pt>
                <c:pt idx="148">
                  <c:v>23.050236640818184</c:v>
                </c:pt>
                <c:pt idx="149">
                  <c:v>24.296296318963869</c:v>
                </c:pt>
                <c:pt idx="150">
                  <c:v>25.617793415614869</c:v>
                </c:pt>
                <c:pt idx="151">
                  <c:v>27.017247312091058</c:v>
                </c:pt>
                <c:pt idx="152">
                  <c:v>28.497771733935224</c:v>
                </c:pt>
                <c:pt idx="153">
                  <c:v>30.062669822684256</c:v>
                </c:pt>
                <c:pt idx="154">
                  <c:v>31.715035938075744</c:v>
                </c:pt>
                <c:pt idx="155">
                  <c:v>33.459573211846873</c:v>
                </c:pt>
                <c:pt idx="156">
                  <c:v>35.301124651916325</c:v>
                </c:pt>
                <c:pt idx="157">
                  <c:v>37.243908091157209</c:v>
                </c:pt>
                <c:pt idx="158">
                  <c:v>39.293128430639626</c:v>
                </c:pt>
                <c:pt idx="159">
                  <c:v>41.452640841685934</c:v>
                </c:pt>
                <c:pt idx="160">
                  <c:v>43.726664459769381</c:v>
                </c:pt>
                <c:pt idx="161">
                  <c:v>46.699616967729526</c:v>
                </c:pt>
                <c:pt idx="162">
                  <c:v>50.255035330337705</c:v>
                </c:pt>
                <c:pt idx="163">
                  <c:v>54.301263847301016</c:v>
                </c:pt>
                <c:pt idx="164">
                  <c:v>58.809236360830255</c:v>
                </c:pt>
                <c:pt idx="165">
                  <c:v>63.782991730578942</c:v>
                </c:pt>
                <c:pt idx="166">
                  <c:v>69.248410782311112</c:v>
                </c:pt>
                <c:pt idx="167">
                  <c:v>75.243163278530119</c:v>
                </c:pt>
                <c:pt idx="168">
                  <c:v>81.803310332237743</c:v>
                </c:pt>
                <c:pt idx="169">
                  <c:v>88.974082772358088</c:v>
                </c:pt>
                <c:pt idx="170">
                  <c:v>96.794851875049062</c:v>
                </c:pt>
                <c:pt idx="171">
                  <c:v>105.31008431513328</c:v>
                </c:pt>
                <c:pt idx="172">
                  <c:v>113.33843145798892</c:v>
                </c:pt>
                <c:pt idx="173">
                  <c:v>121.38585787359625</c:v>
                </c:pt>
                <c:pt idx="174">
                  <c:v>132.29397234524367</c:v>
                </c:pt>
                <c:pt idx="175">
                  <c:v>144.19987308004056</c:v>
                </c:pt>
                <c:pt idx="176">
                  <c:v>157.5478465463093</c:v>
                </c:pt>
                <c:pt idx="177">
                  <c:v>172.25912581081502</c:v>
                </c:pt>
                <c:pt idx="178">
                  <c:v>188.16455705446424</c:v>
                </c:pt>
                <c:pt idx="179">
                  <c:v>204.54459600689006</c:v>
                </c:pt>
                <c:pt idx="180">
                  <c:v>222.03959923732327</c:v>
                </c:pt>
                <c:pt idx="181">
                  <c:v>241.51018786805798</c:v>
                </c:pt>
                <c:pt idx="182">
                  <c:v>261.98311972533702</c:v>
                </c:pt>
                <c:pt idx="183">
                  <c:v>283.88429763403838</c:v>
                </c:pt>
                <c:pt idx="184">
                  <c:v>304.67541874748537</c:v>
                </c:pt>
                <c:pt idx="185">
                  <c:v>320.83788530975113</c:v>
                </c:pt>
                <c:pt idx="186">
                  <c:v>333.89899189349876</c:v>
                </c:pt>
                <c:pt idx="187">
                  <c:v>344.85885096042415</c:v>
                </c:pt>
                <c:pt idx="188">
                  <c:v>354.46244870055813</c:v>
                </c:pt>
                <c:pt idx="189">
                  <c:v>371.14858400691298</c:v>
                </c:pt>
                <c:pt idx="190">
                  <c:v>387.20125306527888</c:v>
                </c:pt>
                <c:pt idx="191">
                  <c:v>402.78535078050567</c:v>
                </c:pt>
                <c:pt idx="192">
                  <c:v>418.25790237529753</c:v>
                </c:pt>
                <c:pt idx="193">
                  <c:v>433.25731604191242</c:v>
                </c:pt>
                <c:pt idx="194">
                  <c:v>447.79049163791325</c:v>
                </c:pt>
                <c:pt idx="195">
                  <c:v>455.25428900000043</c:v>
                </c:pt>
                <c:pt idx="196">
                  <c:v>471.67200000000048</c:v>
                </c:pt>
                <c:pt idx="197">
                  <c:v>489.23733999999968</c:v>
                </c:pt>
                <c:pt idx="198">
                  <c:v>509.62957099999949</c:v>
                </c:pt>
                <c:pt idx="199">
                  <c:v>531.42660000000069</c:v>
                </c:pt>
                <c:pt idx="200">
                  <c:v>551.48493999999846</c:v>
                </c:pt>
                <c:pt idx="201">
                  <c:v>572.26369000000159</c:v>
                </c:pt>
                <c:pt idx="202">
                  <c:v>591.83014000000003</c:v>
                </c:pt>
                <c:pt idx="203">
                  <c:v>611.09727999999996</c:v>
                </c:pt>
                <c:pt idx="204">
                  <c:v>631.99007999999958</c:v>
                </c:pt>
                <c:pt idx="205">
                  <c:v>651.73645000000033</c:v>
                </c:pt>
                <c:pt idx="206">
                  <c:v>671.68509999999878</c:v>
                </c:pt>
                <c:pt idx="207">
                  <c:v>693.36921000000075</c:v>
                </c:pt>
                <c:pt idx="208">
                  <c:v>713.41633999999976</c:v>
                </c:pt>
                <c:pt idx="209">
                  <c:v>733.05318999999872</c:v>
                </c:pt>
                <c:pt idx="210">
                  <c:v>753.34457000000111</c:v>
                </c:pt>
                <c:pt idx="211">
                  <c:v>772.86756999999852</c:v>
                </c:pt>
                <c:pt idx="212">
                  <c:v>791.68206000000282</c:v>
                </c:pt>
                <c:pt idx="213">
                  <c:v>810.55488999999943</c:v>
                </c:pt>
                <c:pt idx="214">
                  <c:v>829.12952999999834</c:v>
                </c:pt>
                <c:pt idx="215">
                  <c:v>846.60009999999966</c:v>
                </c:pt>
                <c:pt idx="216">
                  <c:v>863.20496000000276</c:v>
                </c:pt>
                <c:pt idx="217">
                  <c:v>879.44904999999926</c:v>
                </c:pt>
                <c:pt idx="218">
                  <c:v>894.21519999999873</c:v>
                </c:pt>
                <c:pt idx="219">
                  <c:v>908.18023000000176</c:v>
                </c:pt>
                <c:pt idx="220">
                  <c:v>921.83145999999761</c:v>
                </c:pt>
                <c:pt idx="221">
                  <c:v>933.67165999999997</c:v>
                </c:pt>
                <c:pt idx="222">
                  <c:v>944.54227000000174</c:v>
                </c:pt>
                <c:pt idx="223">
                  <c:v>954.18095999999787</c:v>
                </c:pt>
                <c:pt idx="224">
                  <c:v>962.53248000000167</c:v>
                </c:pt>
                <c:pt idx="225">
                  <c:v>969.56682999999975</c:v>
                </c:pt>
                <c:pt idx="226">
                  <c:v>975.25816000000123</c:v>
                </c:pt>
                <c:pt idx="227">
                  <c:v>979.57845000000088</c:v>
                </c:pt>
                <c:pt idx="228">
                  <c:v>982.50533999999607</c:v>
                </c:pt>
                <c:pt idx="229">
                  <c:v>984.02468000000226</c:v>
                </c:pt>
                <c:pt idx="230">
                  <c:v>984.13044000000082</c:v>
                </c:pt>
                <c:pt idx="231">
                  <c:v>982.82654999999795</c:v>
                </c:pt>
                <c:pt idx="232">
                  <c:v>980.12531999999919</c:v>
                </c:pt>
                <c:pt idx="233">
                  <c:v>976.04605000000447</c:v>
                </c:pt>
                <c:pt idx="234">
                  <c:v>970.61496999999508</c:v>
                </c:pt>
                <c:pt idx="235">
                  <c:v>963.86471000000165</c:v>
                </c:pt>
                <c:pt idx="236">
                  <c:v>955.83389999999781</c:v>
                </c:pt>
                <c:pt idx="237">
                  <c:v>946.56730000000243</c:v>
                </c:pt>
                <c:pt idx="238">
                  <c:v>936.11533000000054</c:v>
                </c:pt>
                <c:pt idx="239">
                  <c:v>924.5332699999999</c:v>
                </c:pt>
                <c:pt idx="240">
                  <c:v>911.88085999999748</c:v>
                </c:pt>
                <c:pt idx="241">
                  <c:v>898.22185000000172</c:v>
                </c:pt>
                <c:pt idx="242">
                  <c:v>883.62303000000247</c:v>
                </c:pt>
                <c:pt idx="243">
                  <c:v>868.15356999999494</c:v>
                </c:pt>
                <c:pt idx="244">
                  <c:v>851.88483000000269</c:v>
                </c:pt>
                <c:pt idx="245">
                  <c:v>834.88953000000038</c:v>
                </c:pt>
                <c:pt idx="246">
                  <c:v>817.24104000000079</c:v>
                </c:pt>
                <c:pt idx="247">
                  <c:v>799.01309000000037</c:v>
                </c:pt>
                <c:pt idx="248">
                  <c:v>780.279099999999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A7-4D9A-8C9E-78CAA4FB84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437.19192800000019</c:v>
                </c:pt>
                <c:pt idx="196">
                  <c:v>446.30802399999993</c:v>
                </c:pt>
                <c:pt idx="197">
                  <c:v>455.65999899999952</c:v>
                </c:pt>
                <c:pt idx="198">
                  <c:v>466.94591899999978</c:v>
                </c:pt>
                <c:pt idx="199">
                  <c:v>478.76142000000073</c:v>
                </c:pt>
                <c:pt idx="200">
                  <c:v>487.99686999999903</c:v>
                </c:pt>
                <c:pt idx="201">
                  <c:v>497.20378000000164</c:v>
                </c:pt>
                <c:pt idx="202">
                  <c:v>504.51392999999916</c:v>
                </c:pt>
                <c:pt idx="203">
                  <c:v>510.91447999999946</c:v>
                </c:pt>
                <c:pt idx="204">
                  <c:v>518.39442000000054</c:v>
                </c:pt>
                <c:pt idx="205">
                  <c:v>524.22495999999956</c:v>
                </c:pt>
                <c:pt idx="206">
                  <c:v>529.82383000000118</c:v>
                </c:pt>
                <c:pt idx="207">
                  <c:v>536.78575999999885</c:v>
                </c:pt>
                <c:pt idx="208">
                  <c:v>541.79992000000129</c:v>
                </c:pt>
                <c:pt idx="209">
                  <c:v>546.159889999999</c:v>
                </c:pt>
                <c:pt idx="210">
                  <c:v>551.00178000000051</c:v>
                </c:pt>
                <c:pt idx="211">
                  <c:v>554.96430999999939</c:v>
                </c:pt>
                <c:pt idx="212">
                  <c:v>558.1728800000019</c:v>
                </c:pt>
                <c:pt idx="213">
                  <c:v>561.47387999999773</c:v>
                </c:pt>
                <c:pt idx="214">
                  <c:v>564.58991000000242</c:v>
                </c:pt>
                <c:pt idx="215">
                  <c:v>566.78894999999829</c:v>
                </c:pt>
                <c:pt idx="216">
                  <c:v>568.39084000000003</c:v>
                </c:pt>
                <c:pt idx="217">
                  <c:v>569.9809099999984</c:v>
                </c:pt>
                <c:pt idx="218">
                  <c:v>570.49617000000217</c:v>
                </c:pt>
                <c:pt idx="219">
                  <c:v>570.6750699999975</c:v>
                </c:pt>
                <c:pt idx="220">
                  <c:v>571.08596000000034</c:v>
                </c:pt>
                <c:pt idx="221">
                  <c:v>570.30006000000139</c:v>
                </c:pt>
                <c:pt idx="222">
                  <c:v>569.22995000000083</c:v>
                </c:pt>
                <c:pt idx="223">
                  <c:v>567.67600999999922</c:v>
                </c:pt>
                <c:pt idx="224">
                  <c:v>565.64045999999871</c:v>
                </c:pt>
                <c:pt idx="225">
                  <c:v>563.13676000000123</c:v>
                </c:pt>
                <c:pt idx="226">
                  <c:v>560.17821000000185</c:v>
                </c:pt>
                <c:pt idx="227">
                  <c:v>556.77444999999716</c:v>
                </c:pt>
                <c:pt idx="228">
                  <c:v>552.93540000000212</c:v>
                </c:pt>
                <c:pt idx="229">
                  <c:v>548.67237000000023</c:v>
                </c:pt>
                <c:pt idx="230">
                  <c:v>543.99800999999934</c:v>
                </c:pt>
                <c:pt idx="231">
                  <c:v>538.92720999999801</c:v>
                </c:pt>
                <c:pt idx="232">
                  <c:v>533.47609999999986</c:v>
                </c:pt>
                <c:pt idx="233">
                  <c:v>527.66146000000299</c:v>
                </c:pt>
                <c:pt idx="234">
                  <c:v>521.50067999999737</c:v>
                </c:pt>
                <c:pt idx="235">
                  <c:v>515.01149000000078</c:v>
                </c:pt>
                <c:pt idx="236">
                  <c:v>508.2119300000013</c:v>
                </c:pt>
                <c:pt idx="237">
                  <c:v>501.12054999999964</c:v>
                </c:pt>
                <c:pt idx="238">
                  <c:v>493.75633000000016</c:v>
                </c:pt>
                <c:pt idx="239">
                  <c:v>486.13841999999931</c:v>
                </c:pt>
                <c:pt idx="240">
                  <c:v>478.28619999999864</c:v>
                </c:pt>
                <c:pt idx="241">
                  <c:v>470.21919999999955</c:v>
                </c:pt>
                <c:pt idx="242">
                  <c:v>461.95693000000028</c:v>
                </c:pt>
                <c:pt idx="243">
                  <c:v>453.51864999999816</c:v>
                </c:pt>
                <c:pt idx="244">
                  <c:v>444.92362000000139</c:v>
                </c:pt>
                <c:pt idx="245">
                  <c:v>436.19086000000243</c:v>
                </c:pt>
                <c:pt idx="246">
                  <c:v>427.33907000000181</c:v>
                </c:pt>
                <c:pt idx="247">
                  <c:v>418.38663000000088</c:v>
                </c:pt>
                <c:pt idx="248">
                  <c:v>409.35155999999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A7-4D9A-8C9E-78CAA4FB84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446.19443499999943</c:v>
                </c:pt>
                <c:pt idx="196">
                  <c:v>458.91515900000013</c:v>
                </c:pt>
                <c:pt idx="197">
                  <c:v>472.29685600000084</c:v>
                </c:pt>
                <c:pt idx="198">
                  <c:v>488.02214999999887</c:v>
                </c:pt>
                <c:pt idx="199">
                  <c:v>504.67244000000028</c:v>
                </c:pt>
                <c:pt idx="200">
                  <c:v>519.11635999999999</c:v>
                </c:pt>
                <c:pt idx="201">
                  <c:v>533.85488000000078</c:v>
                </c:pt>
                <c:pt idx="202">
                  <c:v>546.98383999999896</c:v>
                </c:pt>
                <c:pt idx="203">
                  <c:v>559.45048000000133</c:v>
                </c:pt>
                <c:pt idx="204">
                  <c:v>573.20974000000024</c:v>
                </c:pt>
                <c:pt idx="205">
                  <c:v>585.50998999999865</c:v>
                </c:pt>
                <c:pt idx="206">
                  <c:v>597.73451999999997</c:v>
                </c:pt>
                <c:pt idx="207">
                  <c:v>611.44828000000052</c:v>
                </c:pt>
                <c:pt idx="208">
                  <c:v>623.31165999999939</c:v>
                </c:pt>
                <c:pt idx="209">
                  <c:v>634.58747000000221</c:v>
                </c:pt>
                <c:pt idx="210">
                  <c:v>646.38015999999698</c:v>
                </c:pt>
                <c:pt idx="211">
                  <c:v>657.30217000000266</c:v>
                </c:pt>
                <c:pt idx="212">
                  <c:v>667.4515399999982</c:v>
                </c:pt>
                <c:pt idx="213">
                  <c:v>677.64184000000023</c:v>
                </c:pt>
                <c:pt idx="214">
                  <c:v>687.56370999999854</c:v>
                </c:pt>
                <c:pt idx="215">
                  <c:v>696.45675000000119</c:v>
                </c:pt>
                <c:pt idx="216">
                  <c:v>704.60895000000164</c:v>
                </c:pt>
                <c:pt idx="217">
                  <c:v>712.57494999999835</c:v>
                </c:pt>
                <c:pt idx="218">
                  <c:v>719.27361000000019</c:v>
                </c:pt>
                <c:pt idx="219">
                  <c:v>725.42180000000008</c:v>
                </c:pt>
                <c:pt idx="220">
                  <c:v>731.55783000000156</c:v>
                </c:pt>
                <c:pt idx="221">
                  <c:v>736.22897000000012</c:v>
                </c:pt>
                <c:pt idx="222">
                  <c:v>740.32225999999719</c:v>
                </c:pt>
                <c:pt idx="223">
                  <c:v>743.61631000000125</c:v>
                </c:pt>
                <c:pt idx="224">
                  <c:v>746.09372000000076</c:v>
                </c:pt>
                <c:pt idx="225">
                  <c:v>747.75427000000127</c:v>
                </c:pt>
                <c:pt idx="226">
                  <c:v>748.59911999999895</c:v>
                </c:pt>
                <c:pt idx="227">
                  <c:v>748.62589999999909</c:v>
                </c:pt>
                <c:pt idx="228">
                  <c:v>747.83424999999988</c:v>
                </c:pt>
                <c:pt idx="229">
                  <c:v>746.22767000000022</c:v>
                </c:pt>
                <c:pt idx="230">
                  <c:v>743.8132399999995</c:v>
                </c:pt>
                <c:pt idx="231">
                  <c:v>740.60294000000067</c:v>
                </c:pt>
                <c:pt idx="232">
                  <c:v>736.61246000000028</c:v>
                </c:pt>
                <c:pt idx="233">
                  <c:v>731.86009999999806</c:v>
                </c:pt>
                <c:pt idx="234">
                  <c:v>726.36680999999953</c:v>
                </c:pt>
                <c:pt idx="235">
                  <c:v>720.15583000000333</c:v>
                </c:pt>
                <c:pt idx="236">
                  <c:v>713.25243999999657</c:v>
                </c:pt>
                <c:pt idx="237">
                  <c:v>705.68431000000419</c:v>
                </c:pt>
                <c:pt idx="238">
                  <c:v>697.48115999999573</c:v>
                </c:pt>
                <c:pt idx="239">
                  <c:v>688.67442999999912</c:v>
                </c:pt>
                <c:pt idx="240">
                  <c:v>679.29715000000579</c:v>
                </c:pt>
                <c:pt idx="241">
                  <c:v>669.38380999999936</c:v>
                </c:pt>
                <c:pt idx="242">
                  <c:v>658.96985999999742</c:v>
                </c:pt>
                <c:pt idx="243">
                  <c:v>648.09144000000379</c:v>
                </c:pt>
                <c:pt idx="244">
                  <c:v>636.78546999999526</c:v>
                </c:pt>
                <c:pt idx="245">
                  <c:v>625.08927000000403</c:v>
                </c:pt>
                <c:pt idx="246">
                  <c:v>613.04020999999921</c:v>
                </c:pt>
                <c:pt idx="247">
                  <c:v>600.67577000000165</c:v>
                </c:pt>
                <c:pt idx="248">
                  <c:v>588.03313999999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A7-4D9A-8C9E-78CAA4FB84E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A7-4D9A-8C9E-78CAA4FB8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7152588120993795"/>
          <c:y val="0.72421870544914468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2485</c:v>
                </c:pt>
                <c:pt idx="1">
                  <c:v>2510</c:v>
                </c:pt>
                <c:pt idx="2">
                  <c:v>2706</c:v>
                </c:pt>
                <c:pt idx="3">
                  <c:v>2554</c:v>
                </c:pt>
                <c:pt idx="4">
                  <c:v>2379</c:v>
                </c:pt>
                <c:pt idx="5">
                  <c:v>2241</c:v>
                </c:pt>
                <c:pt idx="6">
                  <c:v>2145</c:v>
                </c:pt>
                <c:pt idx="7">
                  <c:v>1900</c:v>
                </c:pt>
                <c:pt idx="8">
                  <c:v>1882</c:v>
                </c:pt>
                <c:pt idx="9">
                  <c:v>2006</c:v>
                </c:pt>
                <c:pt idx="10">
                  <c:v>1852</c:v>
                </c:pt>
                <c:pt idx="11">
                  <c:v>1740</c:v>
                </c:pt>
                <c:pt idx="12">
                  <c:v>1644</c:v>
                </c:pt>
                <c:pt idx="13">
                  <c:v>1556</c:v>
                </c:pt>
                <c:pt idx="14">
                  <c:v>1352</c:v>
                </c:pt>
                <c:pt idx="15">
                  <c:v>1338</c:v>
                </c:pt>
                <c:pt idx="16">
                  <c:v>1417</c:v>
                </c:pt>
                <c:pt idx="17">
                  <c:v>1277</c:v>
                </c:pt>
                <c:pt idx="18">
                  <c:v>1168</c:v>
                </c:pt>
                <c:pt idx="19">
                  <c:v>1080</c:v>
                </c:pt>
                <c:pt idx="20">
                  <c:v>1030</c:v>
                </c:pt>
                <c:pt idx="21">
                  <c:v>884</c:v>
                </c:pt>
                <c:pt idx="22">
                  <c:v>865</c:v>
                </c:pt>
                <c:pt idx="23">
                  <c:v>897</c:v>
                </c:pt>
                <c:pt idx="24">
                  <c:v>803</c:v>
                </c:pt>
                <c:pt idx="25">
                  <c:v>775</c:v>
                </c:pt>
                <c:pt idx="26">
                  <c:v>679</c:v>
                </c:pt>
                <c:pt idx="27">
                  <c:v>625</c:v>
                </c:pt>
                <c:pt idx="28">
                  <c:v>522</c:v>
                </c:pt>
                <c:pt idx="29">
                  <c:v>520</c:v>
                </c:pt>
                <c:pt idx="30">
                  <c:v>558</c:v>
                </c:pt>
                <c:pt idx="31">
                  <c:v>480</c:v>
                </c:pt>
                <c:pt idx="32">
                  <c:v>445</c:v>
                </c:pt>
                <c:pt idx="33">
                  <c:v>396</c:v>
                </c:pt>
                <c:pt idx="34">
                  <c:v>369</c:v>
                </c:pt>
                <c:pt idx="35">
                  <c:v>304</c:v>
                </c:pt>
                <c:pt idx="36">
                  <c:v>304</c:v>
                </c:pt>
                <c:pt idx="37">
                  <c:v>306</c:v>
                </c:pt>
                <c:pt idx="38">
                  <c:v>290</c:v>
                </c:pt>
                <c:pt idx="39">
                  <c:v>262</c:v>
                </c:pt>
                <c:pt idx="40">
                  <c:v>239</c:v>
                </c:pt>
                <c:pt idx="41">
                  <c:v>190</c:v>
                </c:pt>
                <c:pt idx="42">
                  <c:v>163</c:v>
                </c:pt>
                <c:pt idx="43">
                  <c:v>155</c:v>
                </c:pt>
                <c:pt idx="44">
                  <c:v>171</c:v>
                </c:pt>
                <c:pt idx="45">
                  <c:v>144</c:v>
                </c:pt>
                <c:pt idx="46">
                  <c:v>123</c:v>
                </c:pt>
                <c:pt idx="47">
                  <c:v>122</c:v>
                </c:pt>
                <c:pt idx="48">
                  <c:v>114</c:v>
                </c:pt>
                <c:pt idx="49">
                  <c:v>91</c:v>
                </c:pt>
                <c:pt idx="50">
                  <c:v>89</c:v>
                </c:pt>
                <c:pt idx="51">
                  <c:v>94</c:v>
                </c:pt>
                <c:pt idx="52">
                  <c:v>90</c:v>
                </c:pt>
                <c:pt idx="53">
                  <c:v>87</c:v>
                </c:pt>
                <c:pt idx="54">
                  <c:v>84</c:v>
                </c:pt>
                <c:pt idx="55">
                  <c:v>70</c:v>
                </c:pt>
                <c:pt idx="56">
                  <c:v>58</c:v>
                </c:pt>
                <c:pt idx="57">
                  <c:v>59</c:v>
                </c:pt>
                <c:pt idx="58">
                  <c:v>65</c:v>
                </c:pt>
                <c:pt idx="59">
                  <c:v>60</c:v>
                </c:pt>
                <c:pt idx="60">
                  <c:v>60</c:v>
                </c:pt>
                <c:pt idx="61">
                  <c:v>50</c:v>
                </c:pt>
                <c:pt idx="62">
                  <c:v>41</c:v>
                </c:pt>
                <c:pt idx="63">
                  <c:v>30</c:v>
                </c:pt>
                <c:pt idx="64">
                  <c:v>33</c:v>
                </c:pt>
                <c:pt idx="65">
                  <c:v>35</c:v>
                </c:pt>
                <c:pt idx="66">
                  <c:v>34</c:v>
                </c:pt>
                <c:pt idx="67">
                  <c:v>44</c:v>
                </c:pt>
                <c:pt idx="68">
                  <c:v>41</c:v>
                </c:pt>
                <c:pt idx="69">
                  <c:v>37</c:v>
                </c:pt>
                <c:pt idx="70">
                  <c:v>26</c:v>
                </c:pt>
                <c:pt idx="71">
                  <c:v>26</c:v>
                </c:pt>
                <c:pt idx="72">
                  <c:v>35</c:v>
                </c:pt>
                <c:pt idx="73">
                  <c:v>33</c:v>
                </c:pt>
                <c:pt idx="74">
                  <c:v>31</c:v>
                </c:pt>
                <c:pt idx="75">
                  <c:v>32</c:v>
                </c:pt>
                <c:pt idx="76">
                  <c:v>35</c:v>
                </c:pt>
                <c:pt idx="77">
                  <c:v>33</c:v>
                </c:pt>
                <c:pt idx="78">
                  <c:v>35</c:v>
                </c:pt>
                <c:pt idx="79">
                  <c:v>49</c:v>
                </c:pt>
                <c:pt idx="80">
                  <c:v>45</c:v>
                </c:pt>
                <c:pt idx="81">
                  <c:v>47</c:v>
                </c:pt>
                <c:pt idx="82">
                  <c:v>46</c:v>
                </c:pt>
                <c:pt idx="83">
                  <c:v>46</c:v>
                </c:pt>
                <c:pt idx="84">
                  <c:v>43</c:v>
                </c:pt>
                <c:pt idx="85">
                  <c:v>50</c:v>
                </c:pt>
                <c:pt idx="86">
                  <c:v>62</c:v>
                </c:pt>
                <c:pt idx="87">
                  <c:v>55</c:v>
                </c:pt>
                <c:pt idx="88">
                  <c:v>55</c:v>
                </c:pt>
                <c:pt idx="89">
                  <c:v>62</c:v>
                </c:pt>
                <c:pt idx="90">
                  <c:v>62</c:v>
                </c:pt>
                <c:pt idx="91">
                  <c:v>58</c:v>
                </c:pt>
                <c:pt idx="92">
                  <c:v>52</c:v>
                </c:pt>
                <c:pt idx="93">
                  <c:v>61</c:v>
                </c:pt>
                <c:pt idx="94">
                  <c:v>57</c:v>
                </c:pt>
                <c:pt idx="95">
                  <c:v>59</c:v>
                </c:pt>
                <c:pt idx="96">
                  <c:v>60</c:v>
                </c:pt>
                <c:pt idx="97">
                  <c:v>60</c:v>
                </c:pt>
                <c:pt idx="98">
                  <c:v>59</c:v>
                </c:pt>
                <c:pt idx="99">
                  <c:v>58</c:v>
                </c:pt>
                <c:pt idx="100">
                  <c:v>68</c:v>
                </c:pt>
                <c:pt idx="101">
                  <c:v>63</c:v>
                </c:pt>
                <c:pt idx="102">
                  <c:v>65</c:v>
                </c:pt>
                <c:pt idx="103">
                  <c:v>65</c:v>
                </c:pt>
                <c:pt idx="104">
                  <c:v>56</c:v>
                </c:pt>
                <c:pt idx="105">
                  <c:v>59</c:v>
                </c:pt>
                <c:pt idx="106">
                  <c:v>61</c:v>
                </c:pt>
                <c:pt idx="107">
                  <c:v>74</c:v>
                </c:pt>
                <c:pt idx="108">
                  <c:v>74</c:v>
                </c:pt>
                <c:pt idx="109">
                  <c:v>78</c:v>
                </c:pt>
                <c:pt idx="110">
                  <c:v>73</c:v>
                </c:pt>
                <c:pt idx="111">
                  <c:v>72</c:v>
                </c:pt>
                <c:pt idx="112">
                  <c:v>61</c:v>
                </c:pt>
                <c:pt idx="113">
                  <c:v>66</c:v>
                </c:pt>
                <c:pt idx="114">
                  <c:v>72</c:v>
                </c:pt>
                <c:pt idx="115">
                  <c:v>69</c:v>
                </c:pt>
                <c:pt idx="116">
                  <c:v>73</c:v>
                </c:pt>
                <c:pt idx="117">
                  <c:v>71</c:v>
                </c:pt>
                <c:pt idx="118">
                  <c:v>62</c:v>
                </c:pt>
                <c:pt idx="119">
                  <c:v>56</c:v>
                </c:pt>
                <c:pt idx="120">
                  <c:v>55</c:v>
                </c:pt>
                <c:pt idx="121">
                  <c:v>61</c:v>
                </c:pt>
                <c:pt idx="122">
                  <c:v>56</c:v>
                </c:pt>
                <c:pt idx="123">
                  <c:v>63</c:v>
                </c:pt>
                <c:pt idx="124">
                  <c:v>66</c:v>
                </c:pt>
                <c:pt idx="125">
                  <c:v>64</c:v>
                </c:pt>
                <c:pt idx="126">
                  <c:v>61</c:v>
                </c:pt>
                <c:pt idx="127">
                  <c:v>69</c:v>
                </c:pt>
                <c:pt idx="128">
                  <c:v>92</c:v>
                </c:pt>
                <c:pt idx="129">
                  <c:v>97</c:v>
                </c:pt>
                <c:pt idx="130">
                  <c:v>102</c:v>
                </c:pt>
                <c:pt idx="131">
                  <c:v>113</c:v>
                </c:pt>
                <c:pt idx="132">
                  <c:v>117</c:v>
                </c:pt>
                <c:pt idx="133">
                  <c:v>115</c:v>
                </c:pt>
                <c:pt idx="134">
                  <c:v>127</c:v>
                </c:pt>
                <c:pt idx="135">
                  <c:v>157</c:v>
                </c:pt>
                <c:pt idx="136">
                  <c:v>164</c:v>
                </c:pt>
                <c:pt idx="137">
                  <c:v>168</c:v>
                </c:pt>
                <c:pt idx="138">
                  <c:v>166</c:v>
                </c:pt>
                <c:pt idx="139">
                  <c:v>182</c:v>
                </c:pt>
                <c:pt idx="140">
                  <c:v>161</c:v>
                </c:pt>
                <c:pt idx="141">
                  <c:v>164</c:v>
                </c:pt>
                <c:pt idx="142">
                  <c:v>185</c:v>
                </c:pt>
                <c:pt idx="143">
                  <c:v>180</c:v>
                </c:pt>
                <c:pt idx="144">
                  <c:v>182</c:v>
                </c:pt>
                <c:pt idx="145">
                  <c:v>183</c:v>
                </c:pt>
                <c:pt idx="146">
                  <c:v>188</c:v>
                </c:pt>
                <c:pt idx="147">
                  <c:v>188</c:v>
                </c:pt>
                <c:pt idx="148">
                  <c:v>197</c:v>
                </c:pt>
                <c:pt idx="149">
                  <c:v>229</c:v>
                </c:pt>
                <c:pt idx="150">
                  <c:v>226</c:v>
                </c:pt>
                <c:pt idx="151">
                  <c:v>253</c:v>
                </c:pt>
                <c:pt idx="152">
                  <c:v>251</c:v>
                </c:pt>
                <c:pt idx="153">
                  <c:v>244</c:v>
                </c:pt>
                <c:pt idx="154">
                  <c:v>234</c:v>
                </c:pt>
                <c:pt idx="155">
                  <c:v>247</c:v>
                </c:pt>
                <c:pt idx="156">
                  <c:v>302</c:v>
                </c:pt>
                <c:pt idx="157">
                  <c:v>302</c:v>
                </c:pt>
                <c:pt idx="158">
                  <c:v>326</c:v>
                </c:pt>
                <c:pt idx="159">
                  <c:v>316</c:v>
                </c:pt>
                <c:pt idx="160">
                  <c:v>344</c:v>
                </c:pt>
                <c:pt idx="161">
                  <c:v>333</c:v>
                </c:pt>
                <c:pt idx="162">
                  <c:v>350</c:v>
                </c:pt>
                <c:pt idx="163">
                  <c:v>425</c:v>
                </c:pt>
                <c:pt idx="164">
                  <c:v>444</c:v>
                </c:pt>
                <c:pt idx="165">
                  <c:v>470</c:v>
                </c:pt>
                <c:pt idx="166">
                  <c:v>496</c:v>
                </c:pt>
                <c:pt idx="167">
                  <c:v>526</c:v>
                </c:pt>
                <c:pt idx="168">
                  <c:v>515</c:v>
                </c:pt>
                <c:pt idx="169">
                  <c:v>541</c:v>
                </c:pt>
                <c:pt idx="170">
                  <c:v>662</c:v>
                </c:pt>
                <c:pt idx="171">
                  <c:v>725</c:v>
                </c:pt>
                <c:pt idx="172">
                  <c:v>795</c:v>
                </c:pt>
                <c:pt idx="173">
                  <c:v>838</c:v>
                </c:pt>
                <c:pt idx="174">
                  <c:v>919</c:v>
                </c:pt>
                <c:pt idx="175">
                  <c:v>927</c:v>
                </c:pt>
                <c:pt idx="176">
                  <c:v>990</c:v>
                </c:pt>
                <c:pt idx="177">
                  <c:v>1172</c:v>
                </c:pt>
                <c:pt idx="178">
                  <c:v>1293</c:v>
                </c:pt>
                <c:pt idx="179">
                  <c:v>1395</c:v>
                </c:pt>
                <c:pt idx="180">
                  <c:v>1389</c:v>
                </c:pt>
                <c:pt idx="181">
                  <c:v>1576</c:v>
                </c:pt>
                <c:pt idx="182">
                  <c:v>1596</c:v>
                </c:pt>
                <c:pt idx="183">
                  <c:v>1729</c:v>
                </c:pt>
                <c:pt idx="184">
                  <c:v>2101</c:v>
                </c:pt>
                <c:pt idx="185">
                  <c:v>2293</c:v>
                </c:pt>
                <c:pt idx="186">
                  <c:v>2494</c:v>
                </c:pt>
                <c:pt idx="187">
                  <c:v>2659</c:v>
                </c:pt>
                <c:pt idx="188">
                  <c:v>2793</c:v>
                </c:pt>
                <c:pt idx="189">
                  <c:v>2799</c:v>
                </c:pt>
                <c:pt idx="190">
                  <c:v>2948</c:v>
                </c:pt>
                <c:pt idx="191">
                  <c:v>3390</c:v>
                </c:pt>
                <c:pt idx="192">
                  <c:v>3556</c:v>
                </c:pt>
                <c:pt idx="193">
                  <c:v>3665</c:v>
                </c:pt>
                <c:pt idx="194">
                  <c:v>3743</c:v>
                </c:pt>
                <c:pt idx="195">
                  <c:v>3830</c:v>
                </c:pt>
                <c:pt idx="196">
                  <c:v>3745</c:v>
                </c:pt>
                <c:pt idx="197">
                  <c:v>3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2525.7390516979985</c:v>
                </c:pt>
                <c:pt idx="1">
                  <c:v>2391.4098182899047</c:v>
                </c:pt>
                <c:pt idx="2">
                  <c:v>2263.2741588644108</c:v>
                </c:pt>
                <c:pt idx="3">
                  <c:v>2140.9069226927459</c:v>
                </c:pt>
                <c:pt idx="4">
                  <c:v>2019.2681422958262</c:v>
                </c:pt>
                <c:pt idx="5">
                  <c:v>1909.1947317888748</c:v>
                </c:pt>
                <c:pt idx="6">
                  <c:v>1808.4107742140136</c:v>
                </c:pt>
                <c:pt idx="7">
                  <c:v>1719.692225522188</c:v>
                </c:pt>
                <c:pt idx="8">
                  <c:v>1637.0557701248508</c:v>
                </c:pt>
                <c:pt idx="9">
                  <c:v>1558.4304723361834</c:v>
                </c:pt>
                <c:pt idx="10">
                  <c:v>1482.9872044228273</c:v>
                </c:pt>
                <c:pt idx="11">
                  <c:v>1407.4288362094478</c:v>
                </c:pt>
                <c:pt idx="12">
                  <c:v>1336.3567979437712</c:v>
                </c:pt>
                <c:pt idx="13">
                  <c:v>1272.2803785257952</c:v>
                </c:pt>
                <c:pt idx="14">
                  <c:v>1211.6266712349677</c:v>
                </c:pt>
                <c:pt idx="15">
                  <c:v>1156.5243389761108</c:v>
                </c:pt>
                <c:pt idx="16">
                  <c:v>1105.3271324579944</c:v>
                </c:pt>
                <c:pt idx="17">
                  <c:v>1054.2821331499508</c:v>
                </c:pt>
                <c:pt idx="18">
                  <c:v>1005.7693967023961</c:v>
                </c:pt>
                <c:pt idx="19">
                  <c:v>959.4669632833851</c:v>
                </c:pt>
                <c:pt idx="20">
                  <c:v>915.20860268159595</c:v>
                </c:pt>
                <c:pt idx="21">
                  <c:v>871.98229828032413</c:v>
                </c:pt>
                <c:pt idx="22">
                  <c:v>830.70034069792518</c:v>
                </c:pt>
                <c:pt idx="23">
                  <c:v>790.02156007075087</c:v>
                </c:pt>
                <c:pt idx="24">
                  <c:v>750.46944220392027</c:v>
                </c:pt>
                <c:pt idx="25">
                  <c:v>711.06544283787059</c:v>
                </c:pt>
                <c:pt idx="26">
                  <c:v>673.60762179203607</c:v>
                </c:pt>
                <c:pt idx="27">
                  <c:v>637.42132631192135</c:v>
                </c:pt>
                <c:pt idx="28">
                  <c:v>602.69148715149117</c:v>
                </c:pt>
                <c:pt idx="29">
                  <c:v>569.4915707361655</c:v>
                </c:pt>
                <c:pt idx="30">
                  <c:v>537.58373221984868</c:v>
                </c:pt>
                <c:pt idx="31">
                  <c:v>506.69934554324084</c:v>
                </c:pt>
                <c:pt idx="32">
                  <c:v>476.87495247939916</c:v>
                </c:pt>
                <c:pt idx="33">
                  <c:v>448.80812284339606</c:v>
                </c:pt>
                <c:pt idx="34">
                  <c:v>421.80452315131345</c:v>
                </c:pt>
                <c:pt idx="35">
                  <c:v>396.44421271975943</c:v>
                </c:pt>
                <c:pt idx="36">
                  <c:v>372.37059270178247</c:v>
                </c:pt>
                <c:pt idx="37">
                  <c:v>349.54418486454711</c:v>
                </c:pt>
                <c:pt idx="38">
                  <c:v>327.6924891617391</c:v>
                </c:pt>
                <c:pt idx="39">
                  <c:v>306.94698203188108</c:v>
                </c:pt>
                <c:pt idx="40">
                  <c:v>287.42604935518818</c:v>
                </c:pt>
                <c:pt idx="41">
                  <c:v>269.39485743704455</c:v>
                </c:pt>
                <c:pt idx="42">
                  <c:v>252.50959877732822</c:v>
                </c:pt>
                <c:pt idx="43">
                  <c:v>236.94329165295713</c:v>
                </c:pt>
                <c:pt idx="44">
                  <c:v>222.46375643425557</c:v>
                </c:pt>
                <c:pt idx="45">
                  <c:v>208.86781257269865</c:v>
                </c:pt>
                <c:pt idx="46">
                  <c:v>196.25866080621813</c:v>
                </c:pt>
                <c:pt idx="47">
                  <c:v>184.5254382442179</c:v>
                </c:pt>
                <c:pt idx="48">
                  <c:v>173.58346135571338</c:v>
                </c:pt>
                <c:pt idx="49">
                  <c:v>163.37371066443706</c:v>
                </c:pt>
                <c:pt idx="50">
                  <c:v>153.98679475277191</c:v>
                </c:pt>
                <c:pt idx="51">
                  <c:v>145.23814440060707</c:v>
                </c:pt>
                <c:pt idx="52">
                  <c:v>137.07679570734817</c:v>
                </c:pt>
                <c:pt idx="53">
                  <c:v>129.4519047554183</c:v>
                </c:pt>
                <c:pt idx="54">
                  <c:v>122.31109292889917</c:v>
                </c:pt>
                <c:pt idx="55">
                  <c:v>115.60864961925925</c:v>
                </c:pt>
                <c:pt idx="56">
                  <c:v>109.30562972349179</c:v>
                </c:pt>
                <c:pt idx="57">
                  <c:v>103.36854378209944</c:v>
                </c:pt>
                <c:pt idx="58">
                  <c:v>97.844095018049359</c:v>
                </c:pt>
                <c:pt idx="59">
                  <c:v>92.824329030981204</c:v>
                </c:pt>
                <c:pt idx="60">
                  <c:v>88.352368623752227</c:v>
                </c:pt>
                <c:pt idx="61">
                  <c:v>84.434585534145427</c:v>
                </c:pt>
                <c:pt idx="62">
                  <c:v>81.056575181062158</c:v>
                </c:pt>
                <c:pt idx="63">
                  <c:v>78.188884708935007</c:v>
                </c:pt>
                <c:pt idx="64">
                  <c:v>75.796855174779353</c:v>
                </c:pt>
                <c:pt idx="65">
                  <c:v>73.844745350645638</c:v>
                </c:pt>
                <c:pt idx="66">
                  <c:v>72.292361811863259</c:v>
                </c:pt>
                <c:pt idx="67">
                  <c:v>71.096470177678256</c:v>
                </c:pt>
                <c:pt idx="68">
                  <c:v>70.214597494273164</c:v>
                </c:pt>
                <c:pt idx="69">
                  <c:v>69.631373430110557</c:v>
                </c:pt>
                <c:pt idx="70">
                  <c:v>69.325301146197788</c:v>
                </c:pt>
                <c:pt idx="71">
                  <c:v>69.267579958481164</c:v>
                </c:pt>
                <c:pt idx="72">
                  <c:v>69.425194650248031</c:v>
                </c:pt>
                <c:pt idx="73">
                  <c:v>69.761030194646537</c:v>
                </c:pt>
                <c:pt idx="74">
                  <c:v>70.235298358437277</c:v>
                </c:pt>
                <c:pt idx="75">
                  <c:v>70.807572367024576</c:v>
                </c:pt>
                <c:pt idx="76">
                  <c:v>71.44156931503791</c:v>
                </c:pt>
                <c:pt idx="77">
                  <c:v>72.10547832113086</c:v>
                </c:pt>
                <c:pt idx="78">
                  <c:v>72.772397576378523</c:v>
                </c:pt>
                <c:pt idx="79">
                  <c:v>73.421356459321714</c:v>
                </c:pt>
                <c:pt idx="80">
                  <c:v>74.034136667064772</c:v>
                </c:pt>
                <c:pt idx="81">
                  <c:v>74.595151604567391</c:v>
                </c:pt>
                <c:pt idx="82">
                  <c:v>75.091030524401106</c:v>
                </c:pt>
                <c:pt idx="83">
                  <c:v>75.510067235111137</c:v>
                </c:pt>
                <c:pt idx="84">
                  <c:v>75.842645257689625</c:v>
                </c:pt>
                <c:pt idx="85">
                  <c:v>76.081807025424339</c:v>
                </c:pt>
                <c:pt idx="86">
                  <c:v>76.223843839996448</c:v>
                </c:pt>
                <c:pt idx="87">
                  <c:v>76.266514206186926</c:v>
                </c:pt>
                <c:pt idx="88">
                  <c:v>76.20815310317758</c:v>
                </c:pt>
                <c:pt idx="89">
                  <c:v>76.047977064035663</c:v>
                </c:pt>
                <c:pt idx="90">
                  <c:v>75.786705396702288</c:v>
                </c:pt>
                <c:pt idx="91">
                  <c:v>75.426511826722603</c:v>
                </c:pt>
                <c:pt idx="92">
                  <c:v>74.971123192621803</c:v>
                </c:pt>
                <c:pt idx="93">
                  <c:v>74.42571822213776</c:v>
                </c:pt>
                <c:pt idx="94">
                  <c:v>73.795175679225423</c:v>
                </c:pt>
                <c:pt idx="95">
                  <c:v>73.083772803478098</c:v>
                </c:pt>
                <c:pt idx="96">
                  <c:v>72.295682669874523</c:v>
                </c:pt>
                <c:pt idx="97">
                  <c:v>71.435178718788876</c:v>
                </c:pt>
                <c:pt idx="98">
                  <c:v>70.506442969384608</c:v>
                </c:pt>
                <c:pt idx="99">
                  <c:v>69.514269852298739</c:v>
                </c:pt>
                <c:pt idx="100">
                  <c:v>68.56001275345352</c:v>
                </c:pt>
                <c:pt idx="101">
                  <c:v>67.712880512832754</c:v>
                </c:pt>
                <c:pt idx="102">
                  <c:v>67.011191520303043</c:v>
                </c:pt>
                <c:pt idx="103">
                  <c:v>66.475617760554258</c:v>
                </c:pt>
                <c:pt idx="104">
                  <c:v>66.114909895286374</c:v>
                </c:pt>
                <c:pt idx="105">
                  <c:v>65.930713512608904</c:v>
                </c:pt>
                <c:pt idx="106">
                  <c:v>65.92205610085783</c:v>
                </c:pt>
                <c:pt idx="107">
                  <c:v>66.08470998521409</c:v>
                </c:pt>
                <c:pt idx="108">
                  <c:v>66.410873241383754</c:v>
                </c:pt>
                <c:pt idx="109">
                  <c:v>66.889041640881771</c:v>
                </c:pt>
                <c:pt idx="110">
                  <c:v>67.50776675664774</c:v>
                </c:pt>
                <c:pt idx="111">
                  <c:v>68.254373419457295</c:v>
                </c:pt>
                <c:pt idx="112">
                  <c:v>69.115687592885749</c:v>
                </c:pt>
                <c:pt idx="113">
                  <c:v>70.078983218044897</c:v>
                </c:pt>
                <c:pt idx="114">
                  <c:v>71.129715088584391</c:v>
                </c:pt>
                <c:pt idx="115">
                  <c:v>72.252462179033913</c:v>
                </c:pt>
                <c:pt idx="116">
                  <c:v>73.430763372109695</c:v>
                </c:pt>
                <c:pt idx="117">
                  <c:v>74.64931143019642</c:v>
                </c:pt>
                <c:pt idx="118">
                  <c:v>75.895837727765169</c:v>
                </c:pt>
                <c:pt idx="119">
                  <c:v>77.159326236478719</c:v>
                </c:pt>
                <c:pt idx="120">
                  <c:v>78.430357126586145</c:v>
                </c:pt>
                <c:pt idx="121">
                  <c:v>79.70152085126719</c:v>
                </c:pt>
                <c:pt idx="122">
                  <c:v>80.966067202305524</c:v>
                </c:pt>
                <c:pt idx="123">
                  <c:v>82.217817553323584</c:v>
                </c:pt>
                <c:pt idx="124">
                  <c:v>83.451630791111413</c:v>
                </c:pt>
                <c:pt idx="125">
                  <c:v>84.663102232269594</c:v>
                </c:pt>
                <c:pt idx="126">
                  <c:v>85.848363505356957</c:v>
                </c:pt>
                <c:pt idx="127">
                  <c:v>87.004558254880266</c:v>
                </c:pt>
                <c:pt idx="128">
                  <c:v>88.12994371176606</c:v>
                </c:pt>
                <c:pt idx="129">
                  <c:v>89.222438809135994</c:v>
                </c:pt>
                <c:pt idx="130">
                  <c:v>90.280242715164405</c:v>
                </c:pt>
                <c:pt idx="131">
                  <c:v>91.382111541175931</c:v>
                </c:pt>
                <c:pt idx="132">
                  <c:v>92.584696379968776</c:v>
                </c:pt>
                <c:pt idx="133">
                  <c:v>93.93067370385512</c:v>
                </c:pt>
                <c:pt idx="134">
                  <c:v>95.45779158271354</c:v>
                </c:pt>
                <c:pt idx="135">
                  <c:v>97.203054162819484</c:v>
                </c:pt>
                <c:pt idx="136">
                  <c:v>99.204005002271757</c:v>
                </c:pt>
                <c:pt idx="137">
                  <c:v>101.49905370866749</c:v>
                </c:pt>
                <c:pt idx="138">
                  <c:v>104.12487497931527</c:v>
                </c:pt>
                <c:pt idx="139">
                  <c:v>107.11718080740846</c:v>
                </c:pt>
                <c:pt idx="140">
                  <c:v>110.50820690149644</c:v>
                </c:pt>
                <c:pt idx="141">
                  <c:v>114.32905741209089</c:v>
                </c:pt>
                <c:pt idx="142">
                  <c:v>118.60826343466078</c:v>
                </c:pt>
                <c:pt idx="143">
                  <c:v>123.3715245966855</c:v>
                </c:pt>
                <c:pt idx="144">
                  <c:v>128.64269230966681</c:v>
                </c:pt>
                <c:pt idx="145">
                  <c:v>134.44284842278711</c:v>
                </c:pt>
                <c:pt idx="146">
                  <c:v>140.79142374160554</c:v>
                </c:pt>
                <c:pt idx="147">
                  <c:v>147.70662690853328</c:v>
                </c:pt>
                <c:pt idx="148">
                  <c:v>155.20749004641004</c:v>
                </c:pt>
                <c:pt idx="149">
                  <c:v>163.31441982767387</c:v>
                </c:pt>
                <c:pt idx="150">
                  <c:v>172.04705243013206</c:v>
                </c:pt>
                <c:pt idx="151">
                  <c:v>181.42528130804959</c:v>
                </c:pt>
                <c:pt idx="152">
                  <c:v>191.47000196578691</c:v>
                </c:pt>
                <c:pt idx="153">
                  <c:v>202.20324176446178</c:v>
                </c:pt>
                <c:pt idx="154">
                  <c:v>213.64826304684181</c:v>
                </c:pt>
                <c:pt idx="155">
                  <c:v>225.8310556628133</c:v>
                </c:pt>
                <c:pt idx="156">
                  <c:v>238.78017964825028</c:v>
                </c:pt>
                <c:pt idx="157">
                  <c:v>252.52577478341101</c:v>
                </c:pt>
                <c:pt idx="158">
                  <c:v>267.10048950619262</c:v>
                </c:pt>
                <c:pt idx="159">
                  <c:v>282.53817956652978</c:v>
                </c:pt>
                <c:pt idx="160">
                  <c:v>298.87386291898576</c:v>
                </c:pt>
                <c:pt idx="161">
                  <c:v>316.7209617769193</c:v>
                </c:pt>
                <c:pt idx="162">
                  <c:v>336.55251948810161</c:v>
                </c:pt>
                <c:pt idx="163">
                  <c:v>358.72216608435474</c:v>
                </c:pt>
                <c:pt idx="164">
                  <c:v>383.52881106656162</c:v>
                </c:pt>
                <c:pt idx="165">
                  <c:v>411.24438344700093</c:v>
                </c:pt>
                <c:pt idx="166">
                  <c:v>442.13584845937669</c:v>
                </c:pt>
                <c:pt idx="167">
                  <c:v>476.48203250463712</c:v>
                </c:pt>
                <c:pt idx="168">
                  <c:v>514.56781849061883</c:v>
                </c:pt>
                <c:pt idx="169">
                  <c:v>556.69230818519748</c:v>
                </c:pt>
                <c:pt idx="170">
                  <c:v>603.16482520111128</c:v>
                </c:pt>
                <c:pt idx="171">
                  <c:v>654.3208983696868</c:v>
                </c:pt>
                <c:pt idx="172">
                  <c:v>761.99317087666952</c:v>
                </c:pt>
                <c:pt idx="173">
                  <c:v>821.97580033493875</c:v>
                </c:pt>
                <c:pt idx="174">
                  <c:v>886.32891506367014</c:v>
                </c:pt>
                <c:pt idx="175">
                  <c:v>957.029713986861</c:v>
                </c:pt>
                <c:pt idx="176">
                  <c:v>1035.5638648695319</c:v>
                </c:pt>
                <c:pt idx="177">
                  <c:v>1121.985124085563</c:v>
                </c:pt>
                <c:pt idx="178">
                  <c:v>1215.1282252083911</c:v>
                </c:pt>
                <c:pt idx="179">
                  <c:v>1315.5749741198299</c:v>
                </c:pt>
                <c:pt idx="180">
                  <c:v>1427.3431691532101</c:v>
                </c:pt>
                <c:pt idx="181">
                  <c:v>1548.7455518993343</c:v>
                </c:pt>
                <c:pt idx="182">
                  <c:v>1689.1915280514895</c:v>
                </c:pt>
                <c:pt idx="183">
                  <c:v>1842.0709119032731</c:v>
                </c:pt>
                <c:pt idx="184">
                  <c:v>2006.3267450025155</c:v>
                </c:pt>
                <c:pt idx="185">
                  <c:v>2178.9323192054849</c:v>
                </c:pt>
                <c:pt idx="186">
                  <c:v>2354.5783443465875</c:v>
                </c:pt>
                <c:pt idx="187">
                  <c:v>2532.0251568775361</c:v>
                </c:pt>
                <c:pt idx="188">
                  <c:v>2712.5363553389343</c:v>
                </c:pt>
                <c:pt idx="189">
                  <c:v>2892.5380596774803</c:v>
                </c:pt>
                <c:pt idx="190">
                  <c:v>3070.2680227991641</c:v>
                </c:pt>
                <c:pt idx="191">
                  <c:v>3245.950731171818</c:v>
                </c:pt>
                <c:pt idx="192">
                  <c:v>3418.9245065045834</c:v>
                </c:pt>
                <c:pt idx="193">
                  <c:v>3588.4036014870767</c:v>
                </c:pt>
                <c:pt idx="194">
                  <c:v>3754.6872907695611</c:v>
                </c:pt>
                <c:pt idx="195">
                  <c:v>3892.7752822914981</c:v>
                </c:pt>
                <c:pt idx="196">
                  <c:v>4043.1687347470597</c:v>
                </c:pt>
                <c:pt idx="197">
                  <c:v>4200.2470000448029</c:v>
                </c:pt>
                <c:pt idx="198">
                  <c:v>4359.4916428298739</c:v>
                </c:pt>
                <c:pt idx="199">
                  <c:v>4516.8426085193496</c:v>
                </c:pt>
                <c:pt idx="200">
                  <c:v>4674.49501363325</c:v>
                </c:pt>
                <c:pt idx="201">
                  <c:v>4836.9296358195488</c:v>
                </c:pt>
                <c:pt idx="202">
                  <c:v>5005.9629248299834</c:v>
                </c:pt>
                <c:pt idx="203">
                  <c:v>5181.0823628909475</c:v>
                </c:pt>
                <c:pt idx="204">
                  <c:v>5367.2087561997469</c:v>
                </c:pt>
                <c:pt idx="205">
                  <c:v>5557.7622339853688</c:v>
                </c:pt>
                <c:pt idx="206">
                  <c:v>5741.227412579784</c:v>
                </c:pt>
                <c:pt idx="207">
                  <c:v>5924.3916908957708</c:v>
                </c:pt>
                <c:pt idx="208">
                  <c:v>6111.6242528419043</c:v>
                </c:pt>
                <c:pt idx="209">
                  <c:v>6304.0139361848642</c:v>
                </c:pt>
                <c:pt idx="210">
                  <c:v>6501.2446122618303</c:v>
                </c:pt>
                <c:pt idx="211">
                  <c:v>6702.5228306654781</c:v>
                </c:pt>
                <c:pt idx="212">
                  <c:v>6906.5301863113755</c:v>
                </c:pt>
                <c:pt idx="213">
                  <c:v>7109.4791726113908</c:v>
                </c:pt>
                <c:pt idx="214">
                  <c:v>7311.3153925703818</c:v>
                </c:pt>
                <c:pt idx="215">
                  <c:v>7512.1806540221523</c:v>
                </c:pt>
                <c:pt idx="216">
                  <c:v>7711.789297014001</c:v>
                </c:pt>
                <c:pt idx="217">
                  <c:v>7908.8414601342893</c:v>
                </c:pt>
                <c:pt idx="218">
                  <c:v>8103.5161819879359</c:v>
                </c:pt>
                <c:pt idx="219">
                  <c:v>8294.4674585003886</c:v>
                </c:pt>
                <c:pt idx="220">
                  <c:v>8481.1526524327164</c:v>
                </c:pt>
                <c:pt idx="221">
                  <c:v>8661.5385703678348</c:v>
                </c:pt>
                <c:pt idx="222">
                  <c:v>8835.5454934832705</c:v>
                </c:pt>
                <c:pt idx="223">
                  <c:v>9002.9890621874674</c:v>
                </c:pt>
                <c:pt idx="224">
                  <c:v>9161.1516483523119</c:v>
                </c:pt>
                <c:pt idx="225">
                  <c:v>9310.7132913458499</c:v>
                </c:pt>
                <c:pt idx="226">
                  <c:v>9451.1919071894808</c:v>
                </c:pt>
                <c:pt idx="227">
                  <c:v>9581.0814534073234</c:v>
                </c:pt>
                <c:pt idx="228">
                  <c:v>9700.0694388859665</c:v>
                </c:pt>
                <c:pt idx="229">
                  <c:v>9807.7261848728922</c:v>
                </c:pt>
                <c:pt idx="230">
                  <c:v>9903.950113379924</c:v>
                </c:pt>
                <c:pt idx="231">
                  <c:v>9986.8513187595854</c:v>
                </c:pt>
                <c:pt idx="232">
                  <c:v>10057.23677196085</c:v>
                </c:pt>
                <c:pt idx="233">
                  <c:v>10114.722469341128</c:v>
                </c:pt>
                <c:pt idx="234">
                  <c:v>10158.247083233071</c:v>
                </c:pt>
                <c:pt idx="235">
                  <c:v>10187.686256884104</c:v>
                </c:pt>
                <c:pt idx="236">
                  <c:v>10204.017835551909</c:v>
                </c:pt>
                <c:pt idx="237">
                  <c:v>10206.638131698184</c:v>
                </c:pt>
                <c:pt idx="238">
                  <c:v>10194.579248587939</c:v>
                </c:pt>
                <c:pt idx="239">
                  <c:v>10169.884223290055</c:v>
                </c:pt>
                <c:pt idx="240">
                  <c:v>10132.096963673483</c:v>
                </c:pt>
                <c:pt idx="241">
                  <c:v>10079.137980044037</c:v>
                </c:pt>
                <c:pt idx="242">
                  <c:v>10013.939924979448</c:v>
                </c:pt>
                <c:pt idx="243">
                  <c:v>9936.6889466502071</c:v>
                </c:pt>
                <c:pt idx="244">
                  <c:v>9847.0688784891008</c:v>
                </c:pt>
                <c:pt idx="245">
                  <c:v>9744.119440610757</c:v>
                </c:pt>
                <c:pt idx="246">
                  <c:v>9629.7096549604648</c:v>
                </c:pt>
                <c:pt idx="247">
                  <c:v>9504.7837788229663</c:v>
                </c:pt>
                <c:pt idx="248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90-442D-BD58-5B49B037E7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3874.8266915745994</c:v>
                </c:pt>
                <c:pt idx="196">
                  <c:v>4000.7649631137347</c:v>
                </c:pt>
                <c:pt idx="197">
                  <c:v>4126.3636197642336</c:v>
                </c:pt>
                <c:pt idx="198">
                  <c:v>4246.8519586359671</c:v>
                </c:pt>
                <c:pt idx="199">
                  <c:v>4357.7449058198672</c:v>
                </c:pt>
                <c:pt idx="200">
                  <c:v>4461.1798325185819</c:v>
                </c:pt>
                <c:pt idx="201">
                  <c:v>4561.4503701634731</c:v>
                </c:pt>
                <c:pt idx="202">
                  <c:v>4660.4655418011025</c:v>
                </c:pt>
                <c:pt idx="203">
                  <c:v>4757.6593438429773</c:v>
                </c:pt>
                <c:pt idx="204">
                  <c:v>4858.1037055510278</c:v>
                </c:pt>
                <c:pt idx="205">
                  <c:v>4955.2698137298621</c:v>
                </c:pt>
                <c:pt idx="206">
                  <c:v>5037.851718867676</c:v>
                </c:pt>
                <c:pt idx="207">
                  <c:v>5112.8062867582794</c:v>
                </c:pt>
                <c:pt idx="208">
                  <c:v>5184.8357063969961</c:v>
                </c:pt>
                <c:pt idx="209">
                  <c:v>5255.5396750814843</c:v>
                </c:pt>
                <c:pt idx="210">
                  <c:v>5325.598673688386</c:v>
                </c:pt>
                <c:pt idx="211">
                  <c:v>5394.5302687169533</c:v>
                </c:pt>
                <c:pt idx="212">
                  <c:v>5461.5112579097104</c:v>
                </c:pt>
                <c:pt idx="213">
                  <c:v>5523.106765469247</c:v>
                </c:pt>
                <c:pt idx="214">
                  <c:v>5579.9682808836278</c:v>
                </c:pt>
                <c:pt idx="215">
                  <c:v>5632.7848342359175</c:v>
                </c:pt>
                <c:pt idx="216">
                  <c:v>5681.9344968879614</c:v>
                </c:pt>
                <c:pt idx="217">
                  <c:v>5726.9117901050686</c:v>
                </c:pt>
                <c:pt idx="218">
                  <c:v>5768.6191703553777</c:v>
                </c:pt>
                <c:pt idx="219">
                  <c:v>5806.3310357463051</c:v>
                </c:pt>
                <c:pt idx="220">
                  <c:v>5840.2229265257083</c:v>
                </c:pt>
                <c:pt idx="221">
                  <c:v>5868.9282885581733</c:v>
                </c:pt>
                <c:pt idx="222">
                  <c:v>5893.066540476213</c:v>
                </c:pt>
                <c:pt idx="223">
                  <c:v>5913.1832379434609</c:v>
                </c:pt>
                <c:pt idx="224">
                  <c:v>5927.2707698645754</c:v>
                </c:pt>
                <c:pt idx="225">
                  <c:v>5936.7406334869083</c:v>
                </c:pt>
                <c:pt idx="226">
                  <c:v>5941.7682210099574</c:v>
                </c:pt>
                <c:pt idx="227">
                  <c:v>5941.4840299436837</c:v>
                </c:pt>
                <c:pt idx="228">
                  <c:v>5936.1953895340221</c:v>
                </c:pt>
                <c:pt idx="229">
                  <c:v>5926.0593653684864</c:v>
                </c:pt>
                <c:pt idx="230">
                  <c:v>5911.4925302807624</c:v>
                </c:pt>
                <c:pt idx="231">
                  <c:v>5891.1145246271153</c:v>
                </c:pt>
                <c:pt idx="232">
                  <c:v>5866.1678405466046</c:v>
                </c:pt>
                <c:pt idx="233">
                  <c:v>5836.6640093508631</c:v>
                </c:pt>
                <c:pt idx="234">
                  <c:v>5801.8842766630696</c:v>
                </c:pt>
                <c:pt idx="235">
                  <c:v>5762.0073052004482</c:v>
                </c:pt>
                <c:pt idx="236">
                  <c:v>5718.2310743467178</c:v>
                </c:pt>
                <c:pt idx="237">
                  <c:v>5670.1237920150879</c:v>
                </c:pt>
                <c:pt idx="238">
                  <c:v>5616.8306867096635</c:v>
                </c:pt>
                <c:pt idx="239">
                  <c:v>5560.449341745787</c:v>
                </c:pt>
                <c:pt idx="240">
                  <c:v>5500.5212514270279</c:v>
                </c:pt>
                <c:pt idx="241">
                  <c:v>5434.9249047022322</c:v>
                </c:pt>
                <c:pt idx="242">
                  <c:v>5366.4713539503809</c:v>
                </c:pt>
                <c:pt idx="243">
                  <c:v>5295.1997817793708</c:v>
                </c:pt>
                <c:pt idx="244">
                  <c:v>5220.5883678919135</c:v>
                </c:pt>
                <c:pt idx="245">
                  <c:v>5141.6385683384124</c:v>
                </c:pt>
                <c:pt idx="246">
                  <c:v>5059.7844572957156</c:v>
                </c:pt>
                <c:pt idx="247">
                  <c:v>4975.6441177210791</c:v>
                </c:pt>
                <c:pt idx="248">
                  <c:v>4888.9152696888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3883.7724957326491</c:v>
                </c:pt>
                <c:pt idx="196">
                  <c:v>4021.8651703173618</c:v>
                </c:pt>
                <c:pt idx="197">
                  <c:v>4163.0571947267417</c:v>
                </c:pt>
                <c:pt idx="198">
                  <c:v>4302.6712117083389</c:v>
                </c:pt>
                <c:pt idx="199">
                  <c:v>4436.3983667800385</c:v>
                </c:pt>
                <c:pt idx="200">
                  <c:v>4566.3664649222883</c:v>
                </c:pt>
                <c:pt idx="201">
                  <c:v>4696.9225458938081</c:v>
                </c:pt>
                <c:pt idx="202">
                  <c:v>4829.8886898653491</c:v>
                </c:pt>
                <c:pt idx="203">
                  <c:v>4964.6851723175714</c:v>
                </c:pt>
                <c:pt idx="204">
                  <c:v>5106.2691649077651</c:v>
                </c:pt>
                <c:pt idx="205">
                  <c:v>5248.0490617810719</c:v>
                </c:pt>
                <c:pt idx="206">
                  <c:v>5378.5801272190911</c:v>
                </c:pt>
                <c:pt idx="207">
                  <c:v>5504.7041800399766</c:v>
                </c:pt>
                <c:pt idx="208">
                  <c:v>5630.9313152074346</c:v>
                </c:pt>
                <c:pt idx="209">
                  <c:v>5758.5854770970145</c:v>
                </c:pt>
                <c:pt idx="210">
                  <c:v>5887.8355049395113</c:v>
                </c:pt>
                <c:pt idx="211">
                  <c:v>6018.036375473841</c:v>
                </c:pt>
                <c:pt idx="212">
                  <c:v>6148.1174291578545</c:v>
                </c:pt>
                <c:pt idx="213">
                  <c:v>6274.4753812746858</c:v>
                </c:pt>
                <c:pt idx="214">
                  <c:v>6397.4250467610227</c:v>
                </c:pt>
                <c:pt idx="215">
                  <c:v>6517.4063018172365</c:v>
                </c:pt>
                <c:pt idx="216">
                  <c:v>6634.4979616464334</c:v>
                </c:pt>
                <c:pt idx="217">
                  <c:v>6747.8381258254449</c:v>
                </c:pt>
                <c:pt idx="218">
                  <c:v>6858.0152150647627</c:v>
                </c:pt>
                <c:pt idx="219">
                  <c:v>6964.0475227458237</c:v>
                </c:pt>
                <c:pt idx="220">
                  <c:v>7065.8127870876533</c:v>
                </c:pt>
                <c:pt idx="221">
                  <c:v>7161.6785672445494</c:v>
                </c:pt>
                <c:pt idx="222">
                  <c:v>7251.9875202190015</c:v>
                </c:pt>
                <c:pt idx="223">
                  <c:v>7336.997413029294</c:v>
                </c:pt>
                <c:pt idx="224">
                  <c:v>7414.4261695508612</c:v>
                </c:pt>
                <c:pt idx="225">
                  <c:v>7485.4020724328948</c:v>
                </c:pt>
                <c:pt idx="226">
                  <c:v>7549.8552017784714</c:v>
                </c:pt>
                <c:pt idx="227">
                  <c:v>7606.6812658407434</c:v>
                </c:pt>
                <c:pt idx="228">
                  <c:v>7655.9601133157566</c:v>
                </c:pt>
                <c:pt idx="229">
                  <c:v>7697.6356567036783</c:v>
                </c:pt>
                <c:pt idx="230">
                  <c:v>7731.9422521323904</c:v>
                </c:pt>
                <c:pt idx="231">
                  <c:v>7757.3172289474414</c:v>
                </c:pt>
                <c:pt idx="232">
                  <c:v>7774.8523594207973</c:v>
                </c:pt>
                <c:pt idx="233">
                  <c:v>7784.4222024789415</c:v>
                </c:pt>
                <c:pt idx="234">
                  <c:v>7785.1904771195777</c:v>
                </c:pt>
                <c:pt idx="235">
                  <c:v>7777.2303691396628</c:v>
                </c:pt>
                <c:pt idx="236">
                  <c:v>7761.6674912508715</c:v>
                </c:pt>
                <c:pt idx="237">
                  <c:v>7738.0130518590768</c:v>
                </c:pt>
                <c:pt idx="238">
                  <c:v>7705.3756244397237</c:v>
                </c:pt>
                <c:pt idx="239">
                  <c:v>7665.8362387460747</c:v>
                </c:pt>
                <c:pt idx="240">
                  <c:v>7618.939138221861</c:v>
                </c:pt>
                <c:pt idx="241">
                  <c:v>7562.5763308956839</c:v>
                </c:pt>
                <c:pt idx="242">
                  <c:v>7499.603342788907</c:v>
                </c:pt>
                <c:pt idx="243">
                  <c:v>7430.1080738058808</c:v>
                </c:pt>
                <c:pt idx="244">
                  <c:v>7353.6387736028446</c:v>
                </c:pt>
                <c:pt idx="245">
                  <c:v>7269.1761846328609</c:v>
                </c:pt>
                <c:pt idx="246">
                  <c:v>7178.3251169050309</c:v>
                </c:pt>
                <c:pt idx="247">
                  <c:v>7081.8141108436248</c:v>
                </c:pt>
                <c:pt idx="248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555</c:v>
                </c:pt>
                <c:pt idx="1">
                  <c:v>559</c:v>
                </c:pt>
                <c:pt idx="2">
                  <c:v>564</c:v>
                </c:pt>
                <c:pt idx="3">
                  <c:v>545</c:v>
                </c:pt>
                <c:pt idx="4">
                  <c:v>503</c:v>
                </c:pt>
                <c:pt idx="5">
                  <c:v>464</c:v>
                </c:pt>
                <c:pt idx="6">
                  <c:v>439</c:v>
                </c:pt>
                <c:pt idx="7">
                  <c:v>412</c:v>
                </c:pt>
                <c:pt idx="8">
                  <c:v>416</c:v>
                </c:pt>
                <c:pt idx="9">
                  <c:v>424</c:v>
                </c:pt>
                <c:pt idx="10">
                  <c:v>401</c:v>
                </c:pt>
                <c:pt idx="11">
                  <c:v>379</c:v>
                </c:pt>
                <c:pt idx="12">
                  <c:v>369</c:v>
                </c:pt>
                <c:pt idx="13">
                  <c:v>343</c:v>
                </c:pt>
                <c:pt idx="14">
                  <c:v>308</c:v>
                </c:pt>
                <c:pt idx="15">
                  <c:v>305</c:v>
                </c:pt>
                <c:pt idx="16">
                  <c:v>296</c:v>
                </c:pt>
                <c:pt idx="17">
                  <c:v>278</c:v>
                </c:pt>
                <c:pt idx="18">
                  <c:v>250</c:v>
                </c:pt>
                <c:pt idx="19">
                  <c:v>219</c:v>
                </c:pt>
                <c:pt idx="20">
                  <c:v>193</c:v>
                </c:pt>
                <c:pt idx="21">
                  <c:v>190</c:v>
                </c:pt>
                <c:pt idx="22">
                  <c:v>188</c:v>
                </c:pt>
                <c:pt idx="23">
                  <c:v>184</c:v>
                </c:pt>
                <c:pt idx="24">
                  <c:v>163</c:v>
                </c:pt>
                <c:pt idx="25">
                  <c:v>155</c:v>
                </c:pt>
                <c:pt idx="26">
                  <c:v>146</c:v>
                </c:pt>
                <c:pt idx="27">
                  <c:v>126</c:v>
                </c:pt>
                <c:pt idx="28">
                  <c:v>113</c:v>
                </c:pt>
                <c:pt idx="29">
                  <c:v>113</c:v>
                </c:pt>
                <c:pt idx="30">
                  <c:v>118</c:v>
                </c:pt>
                <c:pt idx="31">
                  <c:v>98</c:v>
                </c:pt>
                <c:pt idx="32">
                  <c:v>91</c:v>
                </c:pt>
                <c:pt idx="33">
                  <c:v>86</c:v>
                </c:pt>
                <c:pt idx="34">
                  <c:v>72</c:v>
                </c:pt>
                <c:pt idx="35">
                  <c:v>60</c:v>
                </c:pt>
                <c:pt idx="36">
                  <c:v>61</c:v>
                </c:pt>
                <c:pt idx="37">
                  <c:v>58</c:v>
                </c:pt>
                <c:pt idx="38">
                  <c:v>59</c:v>
                </c:pt>
                <c:pt idx="39">
                  <c:v>56</c:v>
                </c:pt>
                <c:pt idx="40">
                  <c:v>53</c:v>
                </c:pt>
                <c:pt idx="41">
                  <c:v>38</c:v>
                </c:pt>
                <c:pt idx="42">
                  <c:v>38</c:v>
                </c:pt>
                <c:pt idx="43">
                  <c:v>35</c:v>
                </c:pt>
                <c:pt idx="44">
                  <c:v>37</c:v>
                </c:pt>
                <c:pt idx="45">
                  <c:v>27</c:v>
                </c:pt>
                <c:pt idx="46">
                  <c:v>25</c:v>
                </c:pt>
                <c:pt idx="47">
                  <c:v>24</c:v>
                </c:pt>
                <c:pt idx="48">
                  <c:v>22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5</c:v>
                </c:pt>
                <c:pt idx="60">
                  <c:v>13</c:v>
                </c:pt>
                <c:pt idx="61">
                  <c:v>14</c:v>
                </c:pt>
                <c:pt idx="62">
                  <c:v>7</c:v>
                </c:pt>
                <c:pt idx="63">
                  <c:v>6</c:v>
                </c:pt>
                <c:pt idx="64">
                  <c:v>7</c:v>
                </c:pt>
                <c:pt idx="65">
                  <c:v>11</c:v>
                </c:pt>
                <c:pt idx="66">
                  <c:v>11</c:v>
                </c:pt>
                <c:pt idx="67">
                  <c:v>12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9</c:v>
                </c:pt>
                <c:pt idx="78">
                  <c:v>10</c:v>
                </c:pt>
                <c:pt idx="79">
                  <c:v>10</c:v>
                </c:pt>
                <c:pt idx="80">
                  <c:v>6</c:v>
                </c:pt>
                <c:pt idx="81">
                  <c:v>9</c:v>
                </c:pt>
                <c:pt idx="82">
                  <c:v>14</c:v>
                </c:pt>
                <c:pt idx="83">
                  <c:v>12</c:v>
                </c:pt>
                <c:pt idx="84">
                  <c:v>9</c:v>
                </c:pt>
                <c:pt idx="85">
                  <c:v>10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4</c:v>
                </c:pt>
                <c:pt idx="90">
                  <c:v>16</c:v>
                </c:pt>
                <c:pt idx="91">
                  <c:v>17</c:v>
                </c:pt>
                <c:pt idx="92">
                  <c:v>16</c:v>
                </c:pt>
                <c:pt idx="93">
                  <c:v>15</c:v>
                </c:pt>
                <c:pt idx="94">
                  <c:v>17</c:v>
                </c:pt>
                <c:pt idx="95">
                  <c:v>18</c:v>
                </c:pt>
                <c:pt idx="96">
                  <c:v>17</c:v>
                </c:pt>
                <c:pt idx="97">
                  <c:v>15</c:v>
                </c:pt>
                <c:pt idx="98">
                  <c:v>13</c:v>
                </c:pt>
                <c:pt idx="99">
                  <c:v>16</c:v>
                </c:pt>
                <c:pt idx="100">
                  <c:v>18</c:v>
                </c:pt>
                <c:pt idx="101">
                  <c:v>18</c:v>
                </c:pt>
                <c:pt idx="102">
                  <c:v>20</c:v>
                </c:pt>
                <c:pt idx="103">
                  <c:v>20</c:v>
                </c:pt>
                <c:pt idx="104">
                  <c:v>18</c:v>
                </c:pt>
                <c:pt idx="105">
                  <c:v>19</c:v>
                </c:pt>
                <c:pt idx="106">
                  <c:v>16</c:v>
                </c:pt>
                <c:pt idx="107">
                  <c:v>18</c:v>
                </c:pt>
                <c:pt idx="108">
                  <c:v>18</c:v>
                </c:pt>
                <c:pt idx="109">
                  <c:v>19</c:v>
                </c:pt>
                <c:pt idx="110">
                  <c:v>20</c:v>
                </c:pt>
                <c:pt idx="111">
                  <c:v>18</c:v>
                </c:pt>
                <c:pt idx="112">
                  <c:v>16</c:v>
                </c:pt>
                <c:pt idx="113">
                  <c:v>17</c:v>
                </c:pt>
                <c:pt idx="114">
                  <c:v>19</c:v>
                </c:pt>
                <c:pt idx="115">
                  <c:v>16</c:v>
                </c:pt>
                <c:pt idx="116">
                  <c:v>18</c:v>
                </c:pt>
                <c:pt idx="117">
                  <c:v>16</c:v>
                </c:pt>
                <c:pt idx="118">
                  <c:v>14</c:v>
                </c:pt>
                <c:pt idx="119">
                  <c:v>13</c:v>
                </c:pt>
                <c:pt idx="120">
                  <c:v>9</c:v>
                </c:pt>
                <c:pt idx="121">
                  <c:v>10</c:v>
                </c:pt>
                <c:pt idx="122">
                  <c:v>10</c:v>
                </c:pt>
                <c:pt idx="123">
                  <c:v>12</c:v>
                </c:pt>
                <c:pt idx="124">
                  <c:v>14</c:v>
                </c:pt>
                <c:pt idx="125">
                  <c:v>14</c:v>
                </c:pt>
                <c:pt idx="126">
                  <c:v>16</c:v>
                </c:pt>
                <c:pt idx="127">
                  <c:v>16</c:v>
                </c:pt>
                <c:pt idx="128">
                  <c:v>23</c:v>
                </c:pt>
                <c:pt idx="129">
                  <c:v>26</c:v>
                </c:pt>
                <c:pt idx="130">
                  <c:v>24</c:v>
                </c:pt>
                <c:pt idx="131">
                  <c:v>22</c:v>
                </c:pt>
                <c:pt idx="132">
                  <c:v>24</c:v>
                </c:pt>
                <c:pt idx="133">
                  <c:v>27</c:v>
                </c:pt>
                <c:pt idx="134">
                  <c:v>31</c:v>
                </c:pt>
                <c:pt idx="135">
                  <c:v>35</c:v>
                </c:pt>
                <c:pt idx="136">
                  <c:v>41</c:v>
                </c:pt>
                <c:pt idx="137">
                  <c:v>38</c:v>
                </c:pt>
                <c:pt idx="138">
                  <c:v>43</c:v>
                </c:pt>
                <c:pt idx="139">
                  <c:v>46</c:v>
                </c:pt>
                <c:pt idx="140">
                  <c:v>43</c:v>
                </c:pt>
                <c:pt idx="141">
                  <c:v>40</c:v>
                </c:pt>
                <c:pt idx="142">
                  <c:v>42</c:v>
                </c:pt>
                <c:pt idx="143">
                  <c:v>40</c:v>
                </c:pt>
                <c:pt idx="144">
                  <c:v>38</c:v>
                </c:pt>
                <c:pt idx="145">
                  <c:v>38</c:v>
                </c:pt>
                <c:pt idx="146">
                  <c:v>42</c:v>
                </c:pt>
                <c:pt idx="147">
                  <c:v>46</c:v>
                </c:pt>
                <c:pt idx="148">
                  <c:v>45</c:v>
                </c:pt>
                <c:pt idx="149">
                  <c:v>49</c:v>
                </c:pt>
                <c:pt idx="150">
                  <c:v>53</c:v>
                </c:pt>
                <c:pt idx="151">
                  <c:v>51</c:v>
                </c:pt>
                <c:pt idx="152">
                  <c:v>50</c:v>
                </c:pt>
                <c:pt idx="153">
                  <c:v>45</c:v>
                </c:pt>
                <c:pt idx="154">
                  <c:v>44</c:v>
                </c:pt>
                <c:pt idx="155">
                  <c:v>52</c:v>
                </c:pt>
                <c:pt idx="156">
                  <c:v>58</c:v>
                </c:pt>
                <c:pt idx="157">
                  <c:v>72</c:v>
                </c:pt>
                <c:pt idx="158">
                  <c:v>86</c:v>
                </c:pt>
                <c:pt idx="159">
                  <c:v>75</c:v>
                </c:pt>
                <c:pt idx="160">
                  <c:v>78</c:v>
                </c:pt>
                <c:pt idx="161">
                  <c:v>77</c:v>
                </c:pt>
                <c:pt idx="162">
                  <c:v>77</c:v>
                </c:pt>
                <c:pt idx="163">
                  <c:v>99</c:v>
                </c:pt>
                <c:pt idx="164">
                  <c:v>113</c:v>
                </c:pt>
                <c:pt idx="165">
                  <c:v>114</c:v>
                </c:pt>
                <c:pt idx="166">
                  <c:v>116</c:v>
                </c:pt>
                <c:pt idx="167">
                  <c:v>115</c:v>
                </c:pt>
                <c:pt idx="168">
                  <c:v>112</c:v>
                </c:pt>
                <c:pt idx="169">
                  <c:v>116</c:v>
                </c:pt>
                <c:pt idx="170">
                  <c:v>133</c:v>
                </c:pt>
                <c:pt idx="171">
                  <c:v>146</c:v>
                </c:pt>
                <c:pt idx="172">
                  <c:v>138</c:v>
                </c:pt>
                <c:pt idx="173">
                  <c:v>142</c:v>
                </c:pt>
                <c:pt idx="174">
                  <c:v>152</c:v>
                </c:pt>
                <c:pt idx="175">
                  <c:v>150</c:v>
                </c:pt>
                <c:pt idx="176">
                  <c:v>162</c:v>
                </c:pt>
                <c:pt idx="177">
                  <c:v>170</c:v>
                </c:pt>
                <c:pt idx="178">
                  <c:v>192</c:v>
                </c:pt>
                <c:pt idx="179">
                  <c:v>214</c:v>
                </c:pt>
                <c:pt idx="180">
                  <c:v>208</c:v>
                </c:pt>
                <c:pt idx="181">
                  <c:v>237</c:v>
                </c:pt>
                <c:pt idx="182">
                  <c:v>239</c:v>
                </c:pt>
                <c:pt idx="183">
                  <c:v>268</c:v>
                </c:pt>
                <c:pt idx="184">
                  <c:v>312</c:v>
                </c:pt>
                <c:pt idx="185">
                  <c:v>318</c:v>
                </c:pt>
                <c:pt idx="186">
                  <c:v>346</c:v>
                </c:pt>
                <c:pt idx="187">
                  <c:v>346</c:v>
                </c:pt>
                <c:pt idx="188">
                  <c:v>384</c:v>
                </c:pt>
                <c:pt idx="189">
                  <c:v>389</c:v>
                </c:pt>
                <c:pt idx="190">
                  <c:v>424</c:v>
                </c:pt>
                <c:pt idx="191">
                  <c:v>470</c:v>
                </c:pt>
                <c:pt idx="192">
                  <c:v>485</c:v>
                </c:pt>
                <c:pt idx="193">
                  <c:v>502</c:v>
                </c:pt>
                <c:pt idx="194">
                  <c:v>509</c:v>
                </c:pt>
                <c:pt idx="195">
                  <c:v>514</c:v>
                </c:pt>
                <c:pt idx="196">
                  <c:v>536</c:v>
                </c:pt>
                <c:pt idx="197">
                  <c:v>5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570.10795305222791</c:v>
                </c:pt>
                <c:pt idx="1">
                  <c:v>534.15608617359487</c:v>
                </c:pt>
                <c:pt idx="2">
                  <c:v>501.37540882674909</c:v>
                </c:pt>
                <c:pt idx="3">
                  <c:v>470.52362934014621</c:v>
                </c:pt>
                <c:pt idx="4">
                  <c:v>439.02795833046144</c:v>
                </c:pt>
                <c:pt idx="5">
                  <c:v>410.56102076910173</c:v>
                </c:pt>
                <c:pt idx="6">
                  <c:v>386.34144938123353</c:v>
                </c:pt>
                <c:pt idx="7">
                  <c:v>365.92497822350947</c:v>
                </c:pt>
                <c:pt idx="8">
                  <c:v>348.02401661906225</c:v>
                </c:pt>
                <c:pt idx="9">
                  <c:v>331.97867466843212</c:v>
                </c:pt>
                <c:pt idx="10">
                  <c:v>316.791395270762</c:v>
                </c:pt>
                <c:pt idx="11">
                  <c:v>301.98847255192561</c:v>
                </c:pt>
                <c:pt idx="12">
                  <c:v>289.96940788472097</c:v>
                </c:pt>
                <c:pt idx="13">
                  <c:v>278.83216002770132</c:v>
                </c:pt>
                <c:pt idx="14">
                  <c:v>267.46431870467558</c:v>
                </c:pt>
                <c:pt idx="15">
                  <c:v>256.31716164052403</c:v>
                </c:pt>
                <c:pt idx="16">
                  <c:v>244.51593245954624</c:v>
                </c:pt>
                <c:pt idx="17">
                  <c:v>233.30953979730097</c:v>
                </c:pt>
                <c:pt idx="18">
                  <c:v>221.9447174997882</c:v>
                </c:pt>
                <c:pt idx="19">
                  <c:v>208.81342646194756</c:v>
                </c:pt>
                <c:pt idx="20">
                  <c:v>194.88789174759063</c:v>
                </c:pt>
                <c:pt idx="21">
                  <c:v>183.91293138301941</c:v>
                </c:pt>
                <c:pt idx="22">
                  <c:v>173.88213548500286</c:v>
                </c:pt>
                <c:pt idx="23">
                  <c:v>164.85477590509456</c:v>
                </c:pt>
                <c:pt idx="24">
                  <c:v>154.82514149213446</c:v>
                </c:pt>
                <c:pt idx="25">
                  <c:v>145.21039074756374</c:v>
                </c:pt>
                <c:pt idx="26">
                  <c:v>138.52114016004091</c:v>
                </c:pt>
                <c:pt idx="27">
                  <c:v>132.41667802218055</c:v>
                </c:pt>
                <c:pt idx="28">
                  <c:v>125.36051020434324</c:v>
                </c:pt>
                <c:pt idx="29">
                  <c:v>118.4744157487125</c:v>
                </c:pt>
                <c:pt idx="30">
                  <c:v>112.33680009981101</c:v>
                </c:pt>
                <c:pt idx="31">
                  <c:v>106.07181325937087</c:v>
                </c:pt>
                <c:pt idx="32">
                  <c:v>100.0819240351974</c:v>
                </c:pt>
                <c:pt idx="33">
                  <c:v>94.166891086978353</c:v>
                </c:pt>
                <c:pt idx="34">
                  <c:v>87.944082037022042</c:v>
                </c:pt>
                <c:pt idx="35">
                  <c:v>81.425152424447901</c:v>
                </c:pt>
                <c:pt idx="36">
                  <c:v>75.457505781802297</c:v>
                </c:pt>
                <c:pt idx="37">
                  <c:v>69.832341210114819</c:v>
                </c:pt>
                <c:pt idx="38">
                  <c:v>65.515114555214069</c:v>
                </c:pt>
                <c:pt idx="39">
                  <c:v>61.952406646071566</c:v>
                </c:pt>
                <c:pt idx="40">
                  <c:v>58.454653021748207</c:v>
                </c:pt>
                <c:pt idx="41">
                  <c:v>55.12686745567909</c:v>
                </c:pt>
                <c:pt idx="42">
                  <c:v>52.86983795293424</c:v>
                </c:pt>
                <c:pt idx="43">
                  <c:v>50.480443163154469</c:v>
                </c:pt>
                <c:pt idx="44">
                  <c:v>48.126885569027088</c:v>
                </c:pt>
                <c:pt idx="45">
                  <c:v>44.590039585728441</c:v>
                </c:pt>
                <c:pt idx="46">
                  <c:v>41.434578046871039</c:v>
                </c:pt>
                <c:pt idx="47">
                  <c:v>38.143923300352995</c:v>
                </c:pt>
                <c:pt idx="48">
                  <c:v>35.602431977757675</c:v>
                </c:pt>
                <c:pt idx="49">
                  <c:v>33.075543074953032</c:v>
                </c:pt>
                <c:pt idx="50">
                  <c:v>31.555250779404897</c:v>
                </c:pt>
                <c:pt idx="51">
                  <c:v>29.560367730168903</c:v>
                </c:pt>
                <c:pt idx="52">
                  <c:v>28.179034284783864</c:v>
                </c:pt>
                <c:pt idx="53">
                  <c:v>26.109294174054927</c:v>
                </c:pt>
                <c:pt idx="54">
                  <c:v>24.830757253576387</c:v>
                </c:pt>
                <c:pt idx="55">
                  <c:v>24.32087287502959</c:v>
                </c:pt>
                <c:pt idx="56">
                  <c:v>23.417456047780135</c:v>
                </c:pt>
                <c:pt idx="57">
                  <c:v>21.751550273329052</c:v>
                </c:pt>
                <c:pt idx="58">
                  <c:v>20.886236577746956</c:v>
                </c:pt>
                <c:pt idx="59">
                  <c:v>20.652207702030775</c:v>
                </c:pt>
                <c:pt idx="60">
                  <c:v>20.304731351979612</c:v>
                </c:pt>
                <c:pt idx="61">
                  <c:v>20.407720586527489</c:v>
                </c:pt>
                <c:pt idx="62">
                  <c:v>18.862479838318585</c:v>
                </c:pt>
                <c:pt idx="63">
                  <c:v>17.948539642750632</c:v>
                </c:pt>
                <c:pt idx="64">
                  <c:v>17.524188612977252</c:v>
                </c:pt>
                <c:pt idx="65">
                  <c:v>18.207189848220697</c:v>
                </c:pt>
                <c:pt idx="66">
                  <c:v>18.65674692024081</c:v>
                </c:pt>
                <c:pt idx="67">
                  <c:v>18.973527693615395</c:v>
                </c:pt>
                <c:pt idx="68">
                  <c:v>18.701439840553796</c:v>
                </c:pt>
                <c:pt idx="69">
                  <c:v>19.034357591734878</c:v>
                </c:pt>
                <c:pt idx="70">
                  <c:v>19.601498949868549</c:v>
                </c:pt>
                <c:pt idx="71">
                  <c:v>20.517258353282852</c:v>
                </c:pt>
                <c:pt idx="72">
                  <c:v>19.883305119497148</c:v>
                </c:pt>
                <c:pt idx="73">
                  <c:v>19.045188566221853</c:v>
                </c:pt>
                <c:pt idx="74">
                  <c:v>19.42180003109414</c:v>
                </c:pt>
                <c:pt idx="75">
                  <c:v>19.761605850058423</c:v>
                </c:pt>
                <c:pt idx="76">
                  <c:v>20.79511718243176</c:v>
                </c:pt>
                <c:pt idx="77">
                  <c:v>21.194382587163521</c:v>
                </c:pt>
                <c:pt idx="78">
                  <c:v>21.312443616489819</c:v>
                </c:pt>
                <c:pt idx="79">
                  <c:v>21.109872987369467</c:v>
                </c:pt>
                <c:pt idx="80">
                  <c:v>19.931774600039276</c:v>
                </c:pt>
                <c:pt idx="81">
                  <c:v>18.854946500365749</c:v>
                </c:pt>
                <c:pt idx="82">
                  <c:v>18.901794324351744</c:v>
                </c:pt>
                <c:pt idx="83">
                  <c:v>18.602755358868588</c:v>
                </c:pt>
                <c:pt idx="84">
                  <c:v>17.715272429577915</c:v>
                </c:pt>
                <c:pt idx="85">
                  <c:v>16.548392342065764</c:v>
                </c:pt>
                <c:pt idx="86">
                  <c:v>15.823821166875478</c:v>
                </c:pt>
                <c:pt idx="87">
                  <c:v>16.599228385888811</c:v>
                </c:pt>
                <c:pt idx="88">
                  <c:v>16.765250790045521</c:v>
                </c:pt>
                <c:pt idx="89">
                  <c:v>16.172650881111238</c:v>
                </c:pt>
                <c:pt idx="90">
                  <c:v>16.126421196711384</c:v>
                </c:pt>
                <c:pt idx="91">
                  <c:v>17.17350780958219</c:v>
                </c:pt>
                <c:pt idx="92">
                  <c:v>18.497843906943508</c:v>
                </c:pt>
                <c:pt idx="93">
                  <c:v>19.295927658249266</c:v>
                </c:pt>
                <c:pt idx="94">
                  <c:v>20.412457339760746</c:v>
                </c:pt>
                <c:pt idx="95">
                  <c:v>21.234176573399438</c:v>
                </c:pt>
                <c:pt idx="96">
                  <c:v>21.516741695247401</c:v>
                </c:pt>
                <c:pt idx="97">
                  <c:v>20.996714237616597</c:v>
                </c:pt>
                <c:pt idx="98">
                  <c:v>19.711169716260393</c:v>
                </c:pt>
                <c:pt idx="99">
                  <c:v>18.83193718212619</c:v>
                </c:pt>
                <c:pt idx="100">
                  <c:v>18.769414919672293</c:v>
                </c:pt>
                <c:pt idx="101">
                  <c:v>18.171235690546013</c:v>
                </c:pt>
                <c:pt idx="102">
                  <c:v>17.848824447843697</c:v>
                </c:pt>
                <c:pt idx="103">
                  <c:v>17.74579902129387</c:v>
                </c:pt>
                <c:pt idx="104">
                  <c:v>18.261682427362341</c:v>
                </c:pt>
                <c:pt idx="105">
                  <c:v>19.166836067283782</c:v>
                </c:pt>
                <c:pt idx="106">
                  <c:v>19.0314714040497</c:v>
                </c:pt>
                <c:pt idx="107">
                  <c:v>18.896713172572962</c:v>
                </c:pt>
                <c:pt idx="108">
                  <c:v>18.710243993840727</c:v>
                </c:pt>
                <c:pt idx="109">
                  <c:v>18.148743668593685</c:v>
                </c:pt>
                <c:pt idx="110">
                  <c:v>17.846909051340639</c:v>
                </c:pt>
                <c:pt idx="111">
                  <c:v>17.309303639434141</c:v>
                </c:pt>
                <c:pt idx="112">
                  <c:v>16.878149314909834</c:v>
                </c:pt>
                <c:pt idx="113">
                  <c:v>16.988578375724725</c:v>
                </c:pt>
                <c:pt idx="114">
                  <c:v>17.243297264538963</c:v>
                </c:pt>
                <c:pt idx="115">
                  <c:v>17.249290095981163</c:v>
                </c:pt>
                <c:pt idx="116">
                  <c:v>17.858922360124993</c:v>
                </c:pt>
                <c:pt idx="117">
                  <c:v>18.000729112716563</c:v>
                </c:pt>
                <c:pt idx="118">
                  <c:v>18.153531165853167</c:v>
                </c:pt>
                <c:pt idx="119">
                  <c:v>18.258910061896398</c:v>
                </c:pt>
                <c:pt idx="120">
                  <c:v>17.669084486004301</c:v>
                </c:pt>
                <c:pt idx="121">
                  <c:v>17.047882754963588</c:v>
                </c:pt>
                <c:pt idx="122">
                  <c:v>16.869927930059976</c:v>
                </c:pt>
                <c:pt idx="123">
                  <c:v>16.426336164406436</c:v>
                </c:pt>
                <c:pt idx="124">
                  <c:v>16.329984531985126</c:v>
                </c:pt>
                <c:pt idx="125">
                  <c:v>16.523697440290736</c:v>
                </c:pt>
                <c:pt idx="126">
                  <c:v>17.178426672644445</c:v>
                </c:pt>
                <c:pt idx="127">
                  <c:v>18.306418981675151</c:v>
                </c:pt>
                <c:pt idx="128">
                  <c:v>19.626962504356893</c:v>
                </c:pt>
                <c:pt idx="129">
                  <c:v>21.004859120419258</c:v>
                </c:pt>
                <c:pt idx="130">
                  <c:v>21.822336590368465</c:v>
                </c:pt>
                <c:pt idx="131">
                  <c:v>22.00125872529043</c:v>
                </c:pt>
                <c:pt idx="132">
                  <c:v>22.088091166068327</c:v>
                </c:pt>
                <c:pt idx="133">
                  <c:v>22.008997426529682</c:v>
                </c:pt>
                <c:pt idx="134">
                  <c:v>22.465354721497352</c:v>
                </c:pt>
                <c:pt idx="135">
                  <c:v>22.481886723217681</c:v>
                </c:pt>
                <c:pt idx="136">
                  <c:v>22.69317309590636</c:v>
                </c:pt>
                <c:pt idx="137">
                  <c:v>23.072029437631087</c:v>
                </c:pt>
                <c:pt idx="138">
                  <c:v>24.647188366878506</c:v>
                </c:pt>
                <c:pt idx="139">
                  <c:v>26.036451716637007</c:v>
                </c:pt>
                <c:pt idx="140">
                  <c:v>27.318206627081771</c:v>
                </c:pt>
                <c:pt idx="141">
                  <c:v>28.200746392903</c:v>
                </c:pt>
                <c:pt idx="142">
                  <c:v>29.33575776507319</c:v>
                </c:pt>
                <c:pt idx="143">
                  <c:v>29.958777508740191</c:v>
                </c:pt>
                <c:pt idx="144">
                  <c:v>30.898712452410241</c:v>
                </c:pt>
                <c:pt idx="145">
                  <c:v>31.333378875578362</c:v>
                </c:pt>
                <c:pt idx="146">
                  <c:v>32.347652600025981</c:v>
                </c:pt>
                <c:pt idx="147">
                  <c:v>33.574070418621922</c:v>
                </c:pt>
                <c:pt idx="148">
                  <c:v>35.051162016808206</c:v>
                </c:pt>
                <c:pt idx="149">
                  <c:v>36.596507751371036</c:v>
                </c:pt>
                <c:pt idx="150">
                  <c:v>38.830754376393941</c:v>
                </c:pt>
                <c:pt idx="151">
                  <c:v>40.713120092054616</c:v>
                </c:pt>
                <c:pt idx="152">
                  <c:v>42.584881130553548</c:v>
                </c:pt>
                <c:pt idx="153">
                  <c:v>43.778938405484865</c:v>
                </c:pt>
                <c:pt idx="154">
                  <c:v>46.256895125656698</c:v>
                </c:pt>
                <c:pt idx="155">
                  <c:v>48.894586405417137</c:v>
                </c:pt>
                <c:pt idx="156">
                  <c:v>51.698195766061261</c:v>
                </c:pt>
                <c:pt idx="157">
                  <c:v>54.674248758673059</c:v>
                </c:pt>
                <c:pt idx="158">
                  <c:v>57.829814082741535</c:v>
                </c:pt>
                <c:pt idx="159">
                  <c:v>61.172221832374603</c:v>
                </c:pt>
                <c:pt idx="160">
                  <c:v>64.709053730113084</c:v>
                </c:pt>
                <c:pt idx="161">
                  <c:v>68.573121560084914</c:v>
                </c:pt>
                <c:pt idx="162">
                  <c:v>72.138175300190483</c:v>
                </c:pt>
                <c:pt idx="163">
                  <c:v>76.113448860245882</c:v>
                </c:pt>
                <c:pt idx="164">
                  <c:v>80.546530947764296</c:v>
                </c:pt>
                <c:pt idx="165">
                  <c:v>85.476813726655266</c:v>
                </c:pt>
                <c:pt idx="166">
                  <c:v>90.94031338108698</c:v>
                </c:pt>
                <c:pt idx="167">
                  <c:v>96.973148046959523</c:v>
                </c:pt>
                <c:pt idx="168">
                  <c:v>103.61024061804855</c:v>
                </c:pt>
                <c:pt idx="169">
                  <c:v>110.88687903083817</c:v>
                </c:pt>
                <c:pt idx="170">
                  <c:v>118.83777483177161</c:v>
                </c:pt>
                <c:pt idx="171">
                  <c:v>127.50006701902619</c:v>
                </c:pt>
                <c:pt idx="172">
                  <c:v>132.2587727808054</c:v>
                </c:pt>
                <c:pt idx="173">
                  <c:v>142.69644713869141</c:v>
                </c:pt>
                <c:pt idx="174">
                  <c:v>153.89479901818751</c:v>
                </c:pt>
                <c:pt idx="175">
                  <c:v>166.7215054503373</c:v>
                </c:pt>
                <c:pt idx="176">
                  <c:v>180.24331463612677</c:v>
                </c:pt>
                <c:pt idx="177">
                  <c:v>194.25317435385207</c:v>
                </c:pt>
                <c:pt idx="178">
                  <c:v>209.27304600649737</c:v>
                </c:pt>
                <c:pt idx="179">
                  <c:v>225.91722818850121</c:v>
                </c:pt>
                <c:pt idx="180">
                  <c:v>243.57274678103411</c:v>
                </c:pt>
                <c:pt idx="181">
                  <c:v>262.66662810337726</c:v>
                </c:pt>
                <c:pt idx="182">
                  <c:v>282.480806473195</c:v>
                </c:pt>
                <c:pt idx="183">
                  <c:v>303.68954399645588</c:v>
                </c:pt>
                <c:pt idx="184">
                  <c:v>325.56498417088363</c:v>
                </c:pt>
                <c:pt idx="185">
                  <c:v>347.83638179243172</c:v>
                </c:pt>
                <c:pt idx="186">
                  <c:v>370.61085962259756</c:v>
                </c:pt>
                <c:pt idx="187">
                  <c:v>392.70562822370675</c:v>
                </c:pt>
                <c:pt idx="188">
                  <c:v>414.57130155890928</c:v>
                </c:pt>
                <c:pt idx="189">
                  <c:v>435.24017449056151</c:v>
                </c:pt>
                <c:pt idx="190">
                  <c:v>455.21642966266347</c:v>
                </c:pt>
                <c:pt idx="191">
                  <c:v>474.02076049256925</c:v>
                </c:pt>
                <c:pt idx="192">
                  <c:v>491.87869025574258</c:v>
                </c:pt>
                <c:pt idx="193">
                  <c:v>508.42767490258842</c:v>
                </c:pt>
                <c:pt idx="194">
                  <c:v>523.49629408279395</c:v>
                </c:pt>
                <c:pt idx="195">
                  <c:v>540.51549826427538</c:v>
                </c:pt>
                <c:pt idx="196">
                  <c:v>571.5910858627758</c:v>
                </c:pt>
                <c:pt idx="197">
                  <c:v>602.78128618527444</c:v>
                </c:pt>
                <c:pt idx="198">
                  <c:v>633.65767568492367</c:v>
                </c:pt>
                <c:pt idx="199">
                  <c:v>665.43341592890374</c:v>
                </c:pt>
                <c:pt idx="200">
                  <c:v>698.61618345308102</c:v>
                </c:pt>
                <c:pt idx="201">
                  <c:v>732.54225933768271</c:v>
                </c:pt>
                <c:pt idx="202">
                  <c:v>767.03291820809523</c:v>
                </c:pt>
                <c:pt idx="203">
                  <c:v>800.71516712438824</c:v>
                </c:pt>
                <c:pt idx="204">
                  <c:v>835.27358124687066</c:v>
                </c:pt>
                <c:pt idx="205">
                  <c:v>870.48853065666231</c:v>
                </c:pt>
                <c:pt idx="206">
                  <c:v>906.80570036789447</c:v>
                </c:pt>
                <c:pt idx="207">
                  <c:v>942.70150185963507</c:v>
                </c:pt>
                <c:pt idx="208">
                  <c:v>978.90032392433909</c:v>
                </c:pt>
                <c:pt idx="209">
                  <c:v>1016.0577294254426</c:v>
                </c:pt>
                <c:pt idx="210">
                  <c:v>1053.2672304785012</c:v>
                </c:pt>
                <c:pt idx="211">
                  <c:v>1090.637222738329</c:v>
                </c:pt>
                <c:pt idx="212">
                  <c:v>1127.9581155742762</c:v>
                </c:pt>
                <c:pt idx="213">
                  <c:v>1165.6791847393633</c:v>
                </c:pt>
                <c:pt idx="214">
                  <c:v>1203.0930349235341</c:v>
                </c:pt>
                <c:pt idx="215">
                  <c:v>1240.0942579410014</c:v>
                </c:pt>
                <c:pt idx="216">
                  <c:v>1276.8724773822505</c:v>
                </c:pt>
                <c:pt idx="217">
                  <c:v>1313.4847162796664</c:v>
                </c:pt>
                <c:pt idx="218">
                  <c:v>1349.3326589612561</c:v>
                </c:pt>
                <c:pt idx="219">
                  <c:v>1384.3653204047293</c:v>
                </c:pt>
                <c:pt idx="220">
                  <c:v>1418.648935416436</c:v>
                </c:pt>
                <c:pt idx="221">
                  <c:v>1452.1168655310275</c:v>
                </c:pt>
                <c:pt idx="222">
                  <c:v>1484.5923372331545</c:v>
                </c:pt>
                <c:pt idx="223">
                  <c:v>1515.8983249539224</c:v>
                </c:pt>
                <c:pt idx="224">
                  <c:v>1546.0559322987924</c:v>
                </c:pt>
                <c:pt idx="225">
                  <c:v>1574.7652533883713</c:v>
                </c:pt>
                <c:pt idx="226">
                  <c:v>1601.9234507262049</c:v>
                </c:pt>
                <c:pt idx="227">
                  <c:v>1627.313656451023</c:v>
                </c:pt>
                <c:pt idx="228">
                  <c:v>1650.9782259636629</c:v>
                </c:pt>
                <c:pt idx="229">
                  <c:v>1672.8158770640275</c:v>
                </c:pt>
                <c:pt idx="230">
                  <c:v>1692.7200867042798</c:v>
                </c:pt>
                <c:pt idx="231">
                  <c:v>1710.5518765775907</c:v>
                </c:pt>
                <c:pt idx="232">
                  <c:v>1726.1949688739619</c:v>
                </c:pt>
                <c:pt idx="233">
                  <c:v>1739.6232706404064</c:v>
                </c:pt>
                <c:pt idx="234">
                  <c:v>1750.7889331175338</c:v>
                </c:pt>
                <c:pt idx="235">
                  <c:v>1759.6370090297041</c:v>
                </c:pt>
                <c:pt idx="236">
                  <c:v>1766.1139568243143</c:v>
                </c:pt>
                <c:pt idx="237">
                  <c:v>1770.2019250764154</c:v>
                </c:pt>
                <c:pt idx="238">
                  <c:v>1771.8910267806193</c:v>
                </c:pt>
                <c:pt idx="239">
                  <c:v>1771.1825775644397</c:v>
                </c:pt>
                <c:pt idx="240">
                  <c:v>1768.0840056424856</c:v>
                </c:pt>
                <c:pt idx="241">
                  <c:v>1762.6204862582392</c:v>
                </c:pt>
                <c:pt idx="242">
                  <c:v>1754.823532372196</c:v>
                </c:pt>
                <c:pt idx="243">
                  <c:v>1744.7323500935113</c:v>
                </c:pt>
                <c:pt idx="244">
                  <c:v>1732.4017006102067</c:v>
                </c:pt>
                <c:pt idx="245">
                  <c:v>1717.8987505964114</c:v>
                </c:pt>
                <c:pt idx="246">
                  <c:v>1701.2975179488428</c:v>
                </c:pt>
                <c:pt idx="247">
                  <c:v>1682.6791354108339</c:v>
                </c:pt>
                <c:pt idx="248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58-4843-A083-9E75CCD15D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538.34653645065316</c:v>
                </c:pt>
                <c:pt idx="196">
                  <c:v>566.3775340375945</c:v>
                </c:pt>
                <c:pt idx="197">
                  <c:v>593.53728122139341</c:v>
                </c:pt>
                <c:pt idx="198">
                  <c:v>619.29628634537175</c:v>
                </c:pt>
                <c:pt idx="199">
                  <c:v>644.79770503473469</c:v>
                </c:pt>
                <c:pt idx="200">
                  <c:v>670.44258291493816</c:v>
                </c:pt>
                <c:pt idx="201">
                  <c:v>695.53842156704866</c:v>
                </c:pt>
                <c:pt idx="202">
                  <c:v>719.85190196455505</c:v>
                </c:pt>
                <c:pt idx="203">
                  <c:v>742.00043602806977</c:v>
                </c:pt>
                <c:pt idx="204">
                  <c:v>763.64898141441938</c:v>
                </c:pt>
                <c:pt idx="205">
                  <c:v>784.57780034781422</c:v>
                </c:pt>
                <c:pt idx="206">
                  <c:v>805.25814425479871</c:v>
                </c:pt>
                <c:pt idx="207">
                  <c:v>824.18597696438064</c:v>
                </c:pt>
                <c:pt idx="208">
                  <c:v>842.13561239532044</c:v>
                </c:pt>
                <c:pt idx="209">
                  <c:v>859.80376950117602</c:v>
                </c:pt>
                <c:pt idx="210">
                  <c:v>876.3469461229945</c:v>
                </c:pt>
                <c:pt idx="211">
                  <c:v>891.94882551208582</c:v>
                </c:pt>
                <c:pt idx="212">
                  <c:v>906.52036102609327</c:v>
                </c:pt>
                <c:pt idx="213">
                  <c:v>920.58325715208446</c:v>
                </c:pt>
                <c:pt idx="214">
                  <c:v>933.55536588028576</c:v>
                </c:pt>
                <c:pt idx="215">
                  <c:v>945.42822341929059</c:v>
                </c:pt>
                <c:pt idx="216">
                  <c:v>956.48680799755061</c:v>
                </c:pt>
                <c:pt idx="217">
                  <c:v>966.91252893245849</c:v>
                </c:pt>
                <c:pt idx="218">
                  <c:v>976.23302503778325</c:v>
                </c:pt>
                <c:pt idx="219">
                  <c:v>984.51664838935426</c:v>
                </c:pt>
                <c:pt idx="220">
                  <c:v>991.93928923474482</c:v>
                </c:pt>
                <c:pt idx="221">
                  <c:v>998.55810901371012</c:v>
                </c:pt>
                <c:pt idx="222">
                  <c:v>1004.3210934838614</c:v>
                </c:pt>
                <c:pt idx="223">
                  <c:v>1009.1809084903009</c:v>
                </c:pt>
                <c:pt idx="224">
                  <c:v>1013.2878832646475</c:v>
                </c:pt>
                <c:pt idx="225">
                  <c:v>1016.4748329969786</c:v>
                </c:pt>
                <c:pt idx="226">
                  <c:v>1018.758024779135</c:v>
                </c:pt>
                <c:pt idx="227">
                  <c:v>1020.0411942973701</c:v>
                </c:pt>
                <c:pt idx="228">
                  <c:v>1020.4768913088463</c:v>
                </c:pt>
                <c:pt idx="229">
                  <c:v>1020.0732762357501</c:v>
                </c:pt>
                <c:pt idx="230">
                  <c:v>1018.8275369639042</c:v>
                </c:pt>
                <c:pt idx="231">
                  <c:v>1016.7053489876225</c:v>
                </c:pt>
                <c:pt idx="232">
                  <c:v>1013.6836793699539</c:v>
                </c:pt>
                <c:pt idx="233">
                  <c:v>1009.8145291756862</c:v>
                </c:pt>
                <c:pt idx="234">
                  <c:v>1005.1240476885005</c:v>
                </c:pt>
                <c:pt idx="235">
                  <c:v>999.62215682422038</c:v>
                </c:pt>
                <c:pt idx="236">
                  <c:v>993.31067810810487</c:v>
                </c:pt>
                <c:pt idx="237">
                  <c:v>986.2174100277025</c:v>
                </c:pt>
                <c:pt idx="238">
                  <c:v>978.3679830502216</c:v>
                </c:pt>
                <c:pt idx="239">
                  <c:v>969.78903810151735</c:v>
                </c:pt>
                <c:pt idx="240">
                  <c:v>960.5030380806902</c:v>
                </c:pt>
                <c:pt idx="241">
                  <c:v>950.54002594936969</c:v>
                </c:pt>
                <c:pt idx="242">
                  <c:v>939.92643156297208</c:v>
                </c:pt>
                <c:pt idx="243">
                  <c:v>928.68679284497784</c:v>
                </c:pt>
                <c:pt idx="244">
                  <c:v>916.85197503342897</c:v>
                </c:pt>
                <c:pt idx="245">
                  <c:v>904.45639301939104</c:v>
                </c:pt>
                <c:pt idx="246">
                  <c:v>891.53295792184622</c:v>
                </c:pt>
                <c:pt idx="247">
                  <c:v>878.11396244792013</c:v>
                </c:pt>
                <c:pt idx="248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58-4843-A083-9E75CCD15D5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539.42795017618573</c:v>
                </c:pt>
                <c:pt idx="196">
                  <c:v>568.97315736335486</c:v>
                </c:pt>
                <c:pt idx="197">
                  <c:v>598.1315041085453</c:v>
                </c:pt>
                <c:pt idx="198">
                  <c:v>626.41969743022628</c:v>
                </c:pt>
                <c:pt idx="199">
                  <c:v>655.01089073764501</c:v>
                </c:pt>
                <c:pt idx="200">
                  <c:v>684.35382358599531</c:v>
                </c:pt>
                <c:pt idx="201">
                  <c:v>713.76435200672961</c:v>
                </c:pt>
                <c:pt idx="202">
                  <c:v>743.03004175543219</c:v>
                </c:pt>
                <c:pt idx="203">
                  <c:v>770.766517488506</c:v>
                </c:pt>
                <c:pt idx="204">
                  <c:v>798.64187711591785</c:v>
                </c:pt>
                <c:pt idx="205">
                  <c:v>826.42985741506754</c:v>
                </c:pt>
                <c:pt idx="206">
                  <c:v>854.58263757347913</c:v>
                </c:pt>
                <c:pt idx="207">
                  <c:v>881.58054805199367</c:v>
                </c:pt>
                <c:pt idx="208">
                  <c:v>908.16769807312016</c:v>
                </c:pt>
                <c:pt idx="209">
                  <c:v>935.01565076027282</c:v>
                </c:pt>
                <c:pt idx="210">
                  <c:v>961.24569155628285</c:v>
                </c:pt>
                <c:pt idx="211">
                  <c:v>987.00108213151634</c:v>
                </c:pt>
                <c:pt idx="212">
                  <c:v>1012.1308299236841</c:v>
                </c:pt>
                <c:pt idx="213">
                  <c:v>1037.1199403648313</c:v>
                </c:pt>
                <c:pt idx="214">
                  <c:v>1061.3245002309604</c:v>
                </c:pt>
                <c:pt idx="215">
                  <c:v>1084.6898012894039</c:v>
                </c:pt>
                <c:pt idx="216">
                  <c:v>1107.4567573587524</c:v>
                </c:pt>
                <c:pt idx="217">
                  <c:v>1129.7496142613702</c:v>
                </c:pt>
                <c:pt idx="218">
                  <c:v>1151.0393588208663</c:v>
                </c:pt>
                <c:pt idx="219">
                  <c:v>1171.3422472676352</c:v>
                </c:pt>
                <c:pt idx="220">
                  <c:v>1190.7882001243631</c:v>
                </c:pt>
                <c:pt idx="221">
                  <c:v>1209.3825298062034</c:v>
                </c:pt>
                <c:pt idx="222">
                  <c:v>1227.0219736038248</c:v>
                </c:pt>
                <c:pt idx="223">
                  <c:v>1243.6064356066204</c:v>
                </c:pt>
                <c:pt idx="224">
                  <c:v>1259.2345301756518</c:v>
                </c:pt>
                <c:pt idx="225">
                  <c:v>1273.6862264634728</c:v>
                </c:pt>
                <c:pt idx="226">
                  <c:v>1286.9321870926633</c:v>
                </c:pt>
                <c:pt idx="227">
                  <c:v>1298.8300724689871</c:v>
                </c:pt>
                <c:pt idx="228">
                  <c:v>1309.4916527318251</c:v>
                </c:pt>
                <c:pt idx="229">
                  <c:v>1318.8845836412895</c:v>
                </c:pt>
                <c:pt idx="230">
                  <c:v>1326.9681222485583</c:v>
                </c:pt>
                <c:pt idx="231">
                  <c:v>1333.6690666647505</c:v>
                </c:pt>
                <c:pt idx="232">
                  <c:v>1338.930546977155</c:v>
                </c:pt>
                <c:pt idx="233">
                  <c:v>1342.7774565222339</c:v>
                </c:pt>
                <c:pt idx="234">
                  <c:v>1345.2098877066833</c:v>
                </c:pt>
                <c:pt idx="235">
                  <c:v>1346.2151346762907</c:v>
                </c:pt>
                <c:pt idx="236">
                  <c:v>1345.7758817215599</c:v>
                </c:pt>
                <c:pt idx="237">
                  <c:v>1343.904277604388</c:v>
                </c:pt>
                <c:pt idx="238">
                  <c:v>1340.613916579005</c:v>
                </c:pt>
                <c:pt idx="239">
                  <c:v>1335.9229836655982</c:v>
                </c:pt>
                <c:pt idx="240">
                  <c:v>1329.8490735910939</c:v>
                </c:pt>
                <c:pt idx="241">
                  <c:v>1322.4208701280554</c:v>
                </c:pt>
                <c:pt idx="242">
                  <c:v>1313.6668531908967</c:v>
                </c:pt>
                <c:pt idx="243">
                  <c:v>1303.6168668083906</c:v>
                </c:pt>
                <c:pt idx="244">
                  <c:v>1292.3102075588404</c:v>
                </c:pt>
                <c:pt idx="245">
                  <c:v>1279.7927303310021</c:v>
                </c:pt>
                <c:pt idx="246">
                  <c:v>1266.1116307990249</c:v>
                </c:pt>
                <c:pt idx="247">
                  <c:v>1251.3161224681357</c:v>
                </c:pt>
                <c:pt idx="248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58-4843-A083-9E75CCD15D5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33</c:v>
                </c:pt>
                <c:pt idx="1">
                  <c:v>34</c:v>
                </c:pt>
                <c:pt idx="2">
                  <c:v>39</c:v>
                </c:pt>
                <c:pt idx="3">
                  <c:v>44</c:v>
                </c:pt>
                <c:pt idx="4">
                  <c:v>37</c:v>
                </c:pt>
                <c:pt idx="5">
                  <c:v>43</c:v>
                </c:pt>
                <c:pt idx="6">
                  <c:v>28</c:v>
                </c:pt>
                <c:pt idx="7">
                  <c:v>31</c:v>
                </c:pt>
                <c:pt idx="8">
                  <c:v>34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21</c:v>
                </c:pt>
                <c:pt idx="13">
                  <c:v>18</c:v>
                </c:pt>
                <c:pt idx="14">
                  <c:v>16</c:v>
                </c:pt>
                <c:pt idx="15">
                  <c:v>13</c:v>
                </c:pt>
                <c:pt idx="16">
                  <c:v>23</c:v>
                </c:pt>
                <c:pt idx="17">
                  <c:v>14</c:v>
                </c:pt>
                <c:pt idx="18">
                  <c:v>16</c:v>
                </c:pt>
                <c:pt idx="19">
                  <c:v>17</c:v>
                </c:pt>
                <c:pt idx="20">
                  <c:v>13</c:v>
                </c:pt>
                <c:pt idx="21">
                  <c:v>11</c:v>
                </c:pt>
                <c:pt idx="22">
                  <c:v>12</c:v>
                </c:pt>
                <c:pt idx="23">
                  <c:v>7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7</c:v>
                </c:pt>
                <c:pt idx="28">
                  <c:v>6</c:v>
                </c:pt>
                <c:pt idx="29">
                  <c:v>4</c:v>
                </c:pt>
                <c:pt idx="30">
                  <c:v>10</c:v>
                </c:pt>
                <c:pt idx="31">
                  <c:v>6</c:v>
                </c:pt>
                <c:pt idx="32">
                  <c:v>5</c:v>
                </c:pt>
                <c:pt idx="33">
                  <c:v>3</c:v>
                </c:pt>
                <c:pt idx="34">
                  <c:v>7</c:v>
                </c:pt>
                <c:pt idx="35">
                  <c:v>2</c:v>
                </c:pt>
                <c:pt idx="36">
                  <c:v>4</c:v>
                </c:pt>
                <c:pt idx="37">
                  <c:v>4</c:v>
                </c:pt>
                <c:pt idx="38">
                  <c:v>6</c:v>
                </c:pt>
                <c:pt idx="39">
                  <c:v>2</c:v>
                </c:pt>
                <c:pt idx="40">
                  <c:v>6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5">
                  <c:v>4</c:v>
                </c:pt>
                <c:pt idx="46">
                  <c:v>1</c:v>
                </c:pt>
                <c:pt idx="47">
                  <c:v>4</c:v>
                </c:pt>
                <c:pt idx="48">
                  <c:v>3</c:v>
                </c:pt>
                <c:pt idx="50">
                  <c:v>1</c:v>
                </c:pt>
                <c:pt idx="51">
                  <c:v>1</c:v>
                </c:pt>
                <c:pt idx="52">
                  <c:v>3</c:v>
                </c:pt>
                <c:pt idx="54">
                  <c:v>4</c:v>
                </c:pt>
                <c:pt idx="55">
                  <c:v>1</c:v>
                </c:pt>
                <c:pt idx="56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2</c:v>
                </c:pt>
                <c:pt idx="64">
                  <c:v>2</c:v>
                </c:pt>
                <c:pt idx="67">
                  <c:v>1</c:v>
                </c:pt>
                <c:pt idx="71">
                  <c:v>2</c:v>
                </c:pt>
                <c:pt idx="76">
                  <c:v>2</c:v>
                </c:pt>
                <c:pt idx="78">
                  <c:v>1</c:v>
                </c:pt>
                <c:pt idx="79">
                  <c:v>2</c:v>
                </c:pt>
                <c:pt idx="81">
                  <c:v>1</c:v>
                </c:pt>
                <c:pt idx="91">
                  <c:v>2</c:v>
                </c:pt>
                <c:pt idx="92">
                  <c:v>2</c:v>
                </c:pt>
                <c:pt idx="93">
                  <c:v>1</c:v>
                </c:pt>
                <c:pt idx="96">
                  <c:v>1</c:v>
                </c:pt>
                <c:pt idx="97">
                  <c:v>2</c:v>
                </c:pt>
                <c:pt idx="100">
                  <c:v>1</c:v>
                </c:pt>
                <c:pt idx="102">
                  <c:v>1</c:v>
                </c:pt>
                <c:pt idx="106">
                  <c:v>3</c:v>
                </c:pt>
                <c:pt idx="107">
                  <c:v>3</c:v>
                </c:pt>
                <c:pt idx="108">
                  <c:v>1</c:v>
                </c:pt>
                <c:pt idx="109">
                  <c:v>2</c:v>
                </c:pt>
                <c:pt idx="110">
                  <c:v>2</c:v>
                </c:pt>
                <c:pt idx="111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8">
                  <c:v>1</c:v>
                </c:pt>
                <c:pt idx="119">
                  <c:v>2</c:v>
                </c:pt>
                <c:pt idx="120">
                  <c:v>1</c:v>
                </c:pt>
                <c:pt idx="124">
                  <c:v>2</c:v>
                </c:pt>
                <c:pt idx="128">
                  <c:v>1</c:v>
                </c:pt>
                <c:pt idx="129">
                  <c:v>2</c:v>
                </c:pt>
                <c:pt idx="130">
                  <c:v>1</c:v>
                </c:pt>
                <c:pt idx="134">
                  <c:v>2</c:v>
                </c:pt>
                <c:pt idx="136">
                  <c:v>3</c:v>
                </c:pt>
                <c:pt idx="137">
                  <c:v>3</c:v>
                </c:pt>
                <c:pt idx="139">
                  <c:v>2</c:v>
                </c:pt>
                <c:pt idx="140">
                  <c:v>5</c:v>
                </c:pt>
                <c:pt idx="141">
                  <c:v>2</c:v>
                </c:pt>
                <c:pt idx="142">
                  <c:v>4</c:v>
                </c:pt>
                <c:pt idx="143">
                  <c:v>2</c:v>
                </c:pt>
                <c:pt idx="144">
                  <c:v>2</c:v>
                </c:pt>
                <c:pt idx="145">
                  <c:v>3</c:v>
                </c:pt>
                <c:pt idx="147">
                  <c:v>2</c:v>
                </c:pt>
                <c:pt idx="150">
                  <c:v>3</c:v>
                </c:pt>
                <c:pt idx="151">
                  <c:v>5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4</c:v>
                </c:pt>
                <c:pt idx="156">
                  <c:v>4</c:v>
                </c:pt>
                <c:pt idx="157">
                  <c:v>3</c:v>
                </c:pt>
                <c:pt idx="158">
                  <c:v>5</c:v>
                </c:pt>
                <c:pt idx="159">
                  <c:v>3</c:v>
                </c:pt>
                <c:pt idx="160">
                  <c:v>4</c:v>
                </c:pt>
                <c:pt idx="161">
                  <c:v>3</c:v>
                </c:pt>
                <c:pt idx="162">
                  <c:v>4</c:v>
                </c:pt>
                <c:pt idx="163">
                  <c:v>5</c:v>
                </c:pt>
                <c:pt idx="164">
                  <c:v>7</c:v>
                </c:pt>
                <c:pt idx="165">
                  <c:v>6</c:v>
                </c:pt>
                <c:pt idx="166">
                  <c:v>6</c:v>
                </c:pt>
                <c:pt idx="167">
                  <c:v>10</c:v>
                </c:pt>
                <c:pt idx="168">
                  <c:v>8</c:v>
                </c:pt>
                <c:pt idx="169">
                  <c:v>11</c:v>
                </c:pt>
                <c:pt idx="170">
                  <c:v>12</c:v>
                </c:pt>
                <c:pt idx="171">
                  <c:v>10</c:v>
                </c:pt>
                <c:pt idx="172">
                  <c:v>7</c:v>
                </c:pt>
                <c:pt idx="173">
                  <c:v>10</c:v>
                </c:pt>
                <c:pt idx="174">
                  <c:v>14</c:v>
                </c:pt>
                <c:pt idx="175">
                  <c:v>13</c:v>
                </c:pt>
                <c:pt idx="176">
                  <c:v>20</c:v>
                </c:pt>
                <c:pt idx="177">
                  <c:v>20</c:v>
                </c:pt>
                <c:pt idx="178">
                  <c:v>16</c:v>
                </c:pt>
                <c:pt idx="179">
                  <c:v>21</c:v>
                </c:pt>
                <c:pt idx="180">
                  <c:v>26</c:v>
                </c:pt>
                <c:pt idx="181">
                  <c:v>26</c:v>
                </c:pt>
                <c:pt idx="182">
                  <c:v>23</c:v>
                </c:pt>
                <c:pt idx="183">
                  <c:v>30</c:v>
                </c:pt>
                <c:pt idx="184">
                  <c:v>31</c:v>
                </c:pt>
                <c:pt idx="185">
                  <c:v>35</c:v>
                </c:pt>
                <c:pt idx="186">
                  <c:v>45</c:v>
                </c:pt>
                <c:pt idx="187">
                  <c:v>46</c:v>
                </c:pt>
                <c:pt idx="188">
                  <c:v>57</c:v>
                </c:pt>
                <c:pt idx="189">
                  <c:v>48</c:v>
                </c:pt>
                <c:pt idx="190">
                  <c:v>38</c:v>
                </c:pt>
                <c:pt idx="191">
                  <c:v>46</c:v>
                </c:pt>
                <c:pt idx="192">
                  <c:v>58</c:v>
                </c:pt>
                <c:pt idx="193">
                  <c:v>69</c:v>
                </c:pt>
                <c:pt idx="194">
                  <c:v>68</c:v>
                </c:pt>
                <c:pt idx="195">
                  <c:v>60</c:v>
                </c:pt>
                <c:pt idx="196">
                  <c:v>51</c:v>
                </c:pt>
                <c:pt idx="197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E4-4310-8D88-35AA51852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33.617366669481427</c:v>
                </c:pt>
                <c:pt idx="1">
                  <c:v>33.130942717957396</c:v>
                </c:pt>
                <c:pt idx="2">
                  <c:v>32.750160906925011</c:v>
                </c:pt>
                <c:pt idx="3">
                  <c:v>31.869162251916382</c:v>
                </c:pt>
                <c:pt idx="4">
                  <c:v>30.110528667913286</c:v>
                </c:pt>
                <c:pt idx="5">
                  <c:v>28.28632679587799</c:v>
                </c:pt>
                <c:pt idx="6">
                  <c:v>26.887635546361128</c:v>
                </c:pt>
                <c:pt idx="7">
                  <c:v>25.105872213281778</c:v>
                </c:pt>
                <c:pt idx="8">
                  <c:v>24.498467758346305</c:v>
                </c:pt>
                <c:pt idx="9">
                  <c:v>23.988008790130596</c:v>
                </c:pt>
                <c:pt idx="10">
                  <c:v>23.156535386473667</c:v>
                </c:pt>
                <c:pt idx="11">
                  <c:v>21.522344563561241</c:v>
                </c:pt>
                <c:pt idx="12">
                  <c:v>21.044322786337684</c:v>
                </c:pt>
                <c:pt idx="13">
                  <c:v>19.162760140648356</c:v>
                </c:pt>
                <c:pt idx="14">
                  <c:v>18.469851949213858</c:v>
                </c:pt>
                <c:pt idx="15">
                  <c:v>18.020065253849534</c:v>
                </c:pt>
                <c:pt idx="16">
                  <c:v>17.514218036843864</c:v>
                </c:pt>
                <c:pt idx="17">
                  <c:v>16.3233863455843</c:v>
                </c:pt>
                <c:pt idx="18">
                  <c:v>15.562820563013112</c:v>
                </c:pt>
                <c:pt idx="19">
                  <c:v>14.764116091094333</c:v>
                </c:pt>
                <c:pt idx="20">
                  <c:v>14.003440805165601</c:v>
                </c:pt>
                <c:pt idx="21">
                  <c:v>13.499889763916819</c:v>
                </c:pt>
                <c:pt idx="22">
                  <c:v>12.830963170815313</c:v>
                </c:pt>
                <c:pt idx="23">
                  <c:v>12.21462611212981</c:v>
                </c:pt>
                <c:pt idx="24">
                  <c:v>11.361974932125564</c:v>
                </c:pt>
                <c:pt idx="25">
                  <c:v>10.914612956962413</c:v>
                </c:pt>
                <c:pt idx="26">
                  <c:v>10.619105639208403</c:v>
                </c:pt>
                <c:pt idx="27">
                  <c:v>9.9954301844491411</c:v>
                </c:pt>
                <c:pt idx="28">
                  <c:v>9.4375618853217507</c:v>
                </c:pt>
                <c:pt idx="29">
                  <c:v>8.9847891503381945</c:v>
                </c:pt>
                <c:pt idx="30">
                  <c:v>8.3157722843920805</c:v>
                </c:pt>
                <c:pt idx="31">
                  <c:v>7.8632927234998657</c:v>
                </c:pt>
                <c:pt idx="32">
                  <c:v>7.4232146380040183</c:v>
                </c:pt>
                <c:pt idx="33">
                  <c:v>6.9972346324679604</c:v>
                </c:pt>
                <c:pt idx="34">
                  <c:v>6.5920968312114345</c:v>
                </c:pt>
                <c:pt idx="35">
                  <c:v>6.2000207796108437</c:v>
                </c:pt>
                <c:pt idx="36">
                  <c:v>5.8280821617711913</c:v>
                </c:pt>
                <c:pt idx="37">
                  <c:v>5.4790277825955487</c:v>
                </c:pt>
                <c:pt idx="38">
                  <c:v>5.1480111672345865</c:v>
                </c:pt>
                <c:pt idx="39">
                  <c:v>4.8338223532528168</c:v>
                </c:pt>
                <c:pt idx="40">
                  <c:v>4.5382430397320768</c:v>
                </c:pt>
                <c:pt idx="41">
                  <c:v>4.2625426888947855</c:v>
                </c:pt>
                <c:pt idx="42">
                  <c:v>4.0028272450322975</c:v>
                </c:pt>
                <c:pt idx="43">
                  <c:v>3.7586395372490422</c:v>
                </c:pt>
                <c:pt idx="44">
                  <c:v>3.5316637360880265</c:v>
                </c:pt>
                <c:pt idx="45">
                  <c:v>3.3212972029769636</c:v>
                </c:pt>
                <c:pt idx="46">
                  <c:v>3.124041680134432</c:v>
                </c:pt>
                <c:pt idx="47">
                  <c:v>2.9409153057144759</c:v>
                </c:pt>
                <c:pt idx="48">
                  <c:v>2.7702600163610196</c:v>
                </c:pt>
                <c:pt idx="49">
                  <c:v>2.6090454581436013</c:v>
                </c:pt>
                <c:pt idx="50">
                  <c:v>2.4579046921065677</c:v>
                </c:pt>
                <c:pt idx="51">
                  <c:v>2.3168807352636209</c:v>
                </c:pt>
                <c:pt idx="52">
                  <c:v>2.1858190849730508</c:v>
                </c:pt>
                <c:pt idx="53">
                  <c:v>2.0637794299067842</c:v>
                </c:pt>
                <c:pt idx="54">
                  <c:v>1.9493846160683539</c:v>
                </c:pt>
                <c:pt idx="55">
                  <c:v>1.8422101557157153</c:v>
                </c:pt>
                <c:pt idx="56">
                  <c:v>1.7417252510373884</c:v>
                </c:pt>
                <c:pt idx="57">
                  <c:v>1.6475719025221063</c:v>
                </c:pt>
                <c:pt idx="58">
                  <c:v>1.5602861675465847</c:v>
                </c:pt>
                <c:pt idx="59">
                  <c:v>1.4807659262417938</c:v>
                </c:pt>
                <c:pt idx="60">
                  <c:v>1.409176958976897</c:v>
                </c:pt>
                <c:pt idx="61">
                  <c:v>1.3446365699539624</c:v>
                </c:pt>
                <c:pt idx="62">
                  <c:v>1.2866873723874721</c:v>
                </c:pt>
                <c:pt idx="63">
                  <c:v>1.2357737670752635</c:v>
                </c:pt>
                <c:pt idx="64">
                  <c:v>1.1922075604713915</c:v>
                </c:pt>
                <c:pt idx="65">
                  <c:v>1.1561388675781004</c:v>
                </c:pt>
                <c:pt idx="66">
                  <c:v>1.1272450980178463</c:v>
                </c:pt>
                <c:pt idx="67">
                  <c:v>1.1049420105967438</c:v>
                </c:pt>
                <c:pt idx="68">
                  <c:v>1.0881291943866962</c:v>
                </c:pt>
                <c:pt idx="69">
                  <c:v>1.0762135832128257</c:v>
                </c:pt>
                <c:pt idx="70">
                  <c:v>1.0692730860062032</c:v>
                </c:pt>
                <c:pt idx="71">
                  <c:v>1.0670181539272892</c:v>
                </c:pt>
                <c:pt idx="72">
                  <c:v>1.0690089367132705</c:v>
                </c:pt>
                <c:pt idx="73">
                  <c:v>1.0746626603107328</c:v>
                </c:pt>
                <c:pt idx="74">
                  <c:v>1.0832705638029891</c:v>
                </c:pt>
                <c:pt idx="75">
                  <c:v>1.0939493893709653</c:v>
                </c:pt>
                <c:pt idx="76">
                  <c:v>1.1059945531278768</c:v>
                </c:pt>
                <c:pt idx="77">
                  <c:v>1.1188839188049053</c:v>
                </c:pt>
                <c:pt idx="78">
                  <c:v>1.132672738749511</c:v>
                </c:pt>
                <c:pt idx="79">
                  <c:v>1.1468732367478631</c:v>
                </c:pt>
                <c:pt idx="80">
                  <c:v>1.1607860651440953</c:v>
                </c:pt>
                <c:pt idx="81">
                  <c:v>1.1740977302080102</c:v>
                </c:pt>
                <c:pt idx="82">
                  <c:v>1.186546570757371</c:v>
                </c:pt>
                <c:pt idx="83">
                  <c:v>1.1980438256546682</c:v>
                </c:pt>
                <c:pt idx="84">
                  <c:v>1.208339474083052</c:v>
                </c:pt>
                <c:pt idx="85">
                  <c:v>1.2172243504908191</c:v>
                </c:pt>
                <c:pt idx="86">
                  <c:v>1.2244881154567258</c:v>
                </c:pt>
                <c:pt idx="87">
                  <c:v>1.2299414635981298</c:v>
                </c:pt>
                <c:pt idx="88">
                  <c:v>1.2334728581975913</c:v>
                </c:pt>
                <c:pt idx="89">
                  <c:v>1.2355511516495368</c:v>
                </c:pt>
                <c:pt idx="90">
                  <c:v>1.2362593662119101</c:v>
                </c:pt>
                <c:pt idx="91">
                  <c:v>1.2354874150777404</c:v>
                </c:pt>
                <c:pt idx="92">
                  <c:v>1.2332187531574581</c:v>
                </c:pt>
                <c:pt idx="93">
                  <c:v>1.2294949875032009</c:v>
                </c:pt>
                <c:pt idx="94">
                  <c:v>1.2243660773345482</c:v>
                </c:pt>
                <c:pt idx="95">
                  <c:v>1.2178753962041666</c:v>
                </c:pt>
                <c:pt idx="96">
                  <c:v>1.2100570732512466</c:v>
                </c:pt>
                <c:pt idx="97">
                  <c:v>1.2010053201222612</c:v>
                </c:pt>
                <c:pt idx="98">
                  <c:v>1.1908330163528968</c:v>
                </c:pt>
                <c:pt idx="99">
                  <c:v>1.1796582249111809</c:v>
                </c:pt>
                <c:pt idx="100">
                  <c:v>1.1683419800470345</c:v>
                </c:pt>
                <c:pt idx="101">
                  <c:v>1.1581314019527063</c:v>
                </c:pt>
                <c:pt idx="102">
                  <c:v>1.1490990272192334</c:v>
                </c:pt>
                <c:pt idx="103">
                  <c:v>1.1409345190705462</c:v>
                </c:pt>
                <c:pt idx="104">
                  <c:v>1.1339970769917394</c:v>
                </c:pt>
                <c:pt idx="105">
                  <c:v>1.1289107700844776</c:v>
                </c:pt>
                <c:pt idx="106">
                  <c:v>1.1260358376232853</c:v>
                </c:pt>
                <c:pt idx="107">
                  <c:v>1.1256918861089908</c:v>
                </c:pt>
                <c:pt idx="108">
                  <c:v>1.1278812382384211</c:v>
                </c:pt>
                <c:pt idx="109">
                  <c:v>1.1326176829306804</c:v>
                </c:pt>
                <c:pt idx="110">
                  <c:v>1.1393293538344158</c:v>
                </c:pt>
                <c:pt idx="111">
                  <c:v>1.1476594881342335</c:v>
                </c:pt>
                <c:pt idx="112">
                  <c:v>1.1577671350143253</c:v>
                </c:pt>
                <c:pt idx="113">
                  <c:v>1.1696267961607769</c:v>
                </c:pt>
                <c:pt idx="114">
                  <c:v>1.1833524217645484</c:v>
                </c:pt>
                <c:pt idx="115">
                  <c:v>1.1985784281118483</c:v>
                </c:pt>
                <c:pt idx="116">
                  <c:v>1.2148290557961587</c:v>
                </c:pt>
                <c:pt idx="117">
                  <c:v>1.2317597570377419</c:v>
                </c:pt>
                <c:pt idx="118">
                  <c:v>1.2490826795786583</c:v>
                </c:pt>
                <c:pt idx="119">
                  <c:v>1.2666253599980182</c:v>
                </c:pt>
                <c:pt idx="120">
                  <c:v>1.2846163359533105</c:v>
                </c:pt>
                <c:pt idx="121">
                  <c:v>1.3027918737476378</c:v>
                </c:pt>
                <c:pt idx="122">
                  <c:v>1.3209280716284526</c:v>
                </c:pt>
                <c:pt idx="123">
                  <c:v>1.3388791198410086</c:v>
                </c:pt>
                <c:pt idx="124">
                  <c:v>1.3565384335630006</c:v>
                </c:pt>
                <c:pt idx="125">
                  <c:v>1.3738364540824692</c:v>
                </c:pt>
                <c:pt idx="126">
                  <c:v>1.3907329580209231</c:v>
                </c:pt>
                <c:pt idx="127">
                  <c:v>1.4072860299469783</c:v>
                </c:pt>
                <c:pt idx="128">
                  <c:v>1.4234478870076273</c:v>
                </c:pt>
                <c:pt idx="129">
                  <c:v>1.4391585446875184</c:v>
                </c:pt>
                <c:pt idx="130">
                  <c:v>1.4543698087393293</c:v>
                </c:pt>
                <c:pt idx="131">
                  <c:v>1.4695003577264547</c:v>
                </c:pt>
                <c:pt idx="132">
                  <c:v>1.4848940955096526</c:v>
                </c:pt>
                <c:pt idx="133">
                  <c:v>1.5006426310529708</c:v>
                </c:pt>
                <c:pt idx="134">
                  <c:v>1.5168221241578292</c:v>
                </c:pt>
                <c:pt idx="135">
                  <c:v>1.5339861656554867</c:v>
                </c:pt>
                <c:pt idx="136">
                  <c:v>1.5525500408176196</c:v>
                </c:pt>
                <c:pt idx="137">
                  <c:v>1.5730102145387113</c:v>
                </c:pt>
                <c:pt idx="138">
                  <c:v>1.5960326077037459</c:v>
                </c:pt>
                <c:pt idx="139">
                  <c:v>1.6220491715441718</c:v>
                </c:pt>
                <c:pt idx="140">
                  <c:v>1.6515869419036828</c:v>
                </c:pt>
                <c:pt idx="141">
                  <c:v>1.6850577536958744</c:v>
                </c:pt>
                <c:pt idx="142">
                  <c:v>1.7229641561363098</c:v>
                </c:pt>
                <c:pt idx="143">
                  <c:v>1.7659025162015434</c:v>
                </c:pt>
                <c:pt idx="144">
                  <c:v>1.8143404153903988</c:v>
                </c:pt>
                <c:pt idx="145">
                  <c:v>1.8687732636628576</c:v>
                </c:pt>
                <c:pt idx="146">
                  <c:v>1.9295610072459646</c:v>
                </c:pt>
                <c:pt idx="147">
                  <c:v>1.9970473423473201</c:v>
                </c:pt>
                <c:pt idx="148">
                  <c:v>2.0718323199324935</c:v>
                </c:pt>
                <c:pt idx="149">
                  <c:v>2.1542979705679199</c:v>
                </c:pt>
                <c:pt idx="150">
                  <c:v>2.2447715905602994</c:v>
                </c:pt>
                <c:pt idx="151">
                  <c:v>2.3435033541015735</c:v>
                </c:pt>
                <c:pt idx="152">
                  <c:v>2.4506008701078508</c:v>
                </c:pt>
                <c:pt idx="153">
                  <c:v>2.5662538518892819</c:v>
                </c:pt>
                <c:pt idx="154">
                  <c:v>2.6907027350180388</c:v>
                </c:pt>
                <c:pt idx="155">
                  <c:v>2.8242050857233258</c:v>
                </c:pt>
                <c:pt idx="156">
                  <c:v>2.967036816276905</c:v>
                </c:pt>
                <c:pt idx="157">
                  <c:v>3.1194805916741197</c:v>
                </c:pt>
                <c:pt idx="158">
                  <c:v>3.281994167732214</c:v>
                </c:pt>
                <c:pt idx="159">
                  <c:v>3.4548560231088472</c:v>
                </c:pt>
                <c:pt idx="160">
                  <c:v>3.6383722705710406</c:v>
                </c:pt>
                <c:pt idx="161">
                  <c:v>3.8362116972660201</c:v>
                </c:pt>
                <c:pt idx="162">
                  <c:v>4.0760835909020283</c:v>
                </c:pt>
                <c:pt idx="163">
                  <c:v>4.384942322656328</c:v>
                </c:pt>
                <c:pt idx="164">
                  <c:v>4.7255057988983147</c:v>
                </c:pt>
                <c:pt idx="165">
                  <c:v>5.1029276706985449</c:v>
                </c:pt>
                <c:pt idx="166">
                  <c:v>5.5241106320997817</c:v>
                </c:pt>
                <c:pt idx="167">
                  <c:v>5.9954421102110231</c:v>
                </c:pt>
                <c:pt idx="168">
                  <c:v>6.5240747015647225</c:v>
                </c:pt>
                <c:pt idx="169">
                  <c:v>7.115982218158079</c:v>
                </c:pt>
                <c:pt idx="170">
                  <c:v>7.7781088135724623</c:v>
                </c:pt>
                <c:pt idx="171">
                  <c:v>8.5145185237183494</c:v>
                </c:pt>
                <c:pt idx="172">
                  <c:v>9.3308646712510797</c:v>
                </c:pt>
                <c:pt idx="173">
                  <c:v>10.700009277083206</c:v>
                </c:pt>
                <c:pt idx="174">
                  <c:v>11.497171363542522</c:v>
                </c:pt>
                <c:pt idx="175">
                  <c:v>13.232637347658986</c:v>
                </c:pt>
                <c:pt idx="176">
                  <c:v>14.809781005903092</c:v>
                </c:pt>
                <c:pt idx="177">
                  <c:v>16.221674150528987</c:v>
                </c:pt>
                <c:pt idx="178">
                  <c:v>17.648890538754973</c:v>
                </c:pt>
                <c:pt idx="179">
                  <c:v>19.40047654605387</c:v>
                </c:pt>
                <c:pt idx="180">
                  <c:v>20.691975084960951</c:v>
                </c:pt>
                <c:pt idx="181">
                  <c:v>22.016393565156623</c:v>
                </c:pt>
                <c:pt idx="182">
                  <c:v>24.453447558490289</c:v>
                </c:pt>
                <c:pt idx="183">
                  <c:v>27.076178382548409</c:v>
                </c:pt>
                <c:pt idx="184">
                  <c:v>29.828768079924021</c:v>
                </c:pt>
                <c:pt idx="185">
                  <c:v>32.449171059956299</c:v>
                </c:pt>
                <c:pt idx="186">
                  <c:v>34.98116808291585</c:v>
                </c:pt>
                <c:pt idx="187">
                  <c:v>37.973473724422213</c:v>
                </c:pt>
                <c:pt idx="188">
                  <c:v>40.771370247989111</c:v>
                </c:pt>
                <c:pt idx="189">
                  <c:v>43.951421847532686</c:v>
                </c:pt>
                <c:pt idx="190">
                  <c:v>47.90857224647506</c:v>
                </c:pt>
                <c:pt idx="191">
                  <c:v>51.220278513191943</c:v>
                </c:pt>
                <c:pt idx="192">
                  <c:v>54.300119492906802</c:v>
                </c:pt>
                <c:pt idx="193">
                  <c:v>57.665069913002554</c:v>
                </c:pt>
                <c:pt idx="194">
                  <c:v>61.230319443443875</c:v>
                </c:pt>
                <c:pt idx="195">
                  <c:v>64.648588247987291</c:v>
                </c:pt>
                <c:pt idx="196">
                  <c:v>65.619335260580527</c:v>
                </c:pt>
                <c:pt idx="197">
                  <c:v>68.440270702858413</c:v>
                </c:pt>
                <c:pt idx="198">
                  <c:v>71.958749279701095</c:v>
                </c:pt>
                <c:pt idx="199">
                  <c:v>73.318634561311868</c:v>
                </c:pt>
                <c:pt idx="200">
                  <c:v>76.422414753537979</c:v>
                </c:pt>
                <c:pt idx="201">
                  <c:v>78.342787471714303</c:v>
                </c:pt>
                <c:pt idx="202">
                  <c:v>79.754692011742932</c:v>
                </c:pt>
                <c:pt idx="203">
                  <c:v>81.690287753216651</c:v>
                </c:pt>
                <c:pt idx="204">
                  <c:v>84.162122462795026</c:v>
                </c:pt>
                <c:pt idx="205">
                  <c:v>87.094765613905864</c:v>
                </c:pt>
                <c:pt idx="206">
                  <c:v>89.327983399957574</c:v>
                </c:pt>
                <c:pt idx="207">
                  <c:v>93.080094079409676</c:v>
                </c:pt>
                <c:pt idx="208">
                  <c:v>95.862501016447894</c:v>
                </c:pt>
                <c:pt idx="209">
                  <c:v>97.471202458340429</c:v>
                </c:pt>
                <c:pt idx="210">
                  <c:v>100.99060810356492</c:v>
                </c:pt>
                <c:pt idx="211">
                  <c:v>104.24080066301619</c:v>
                </c:pt>
                <c:pt idx="212">
                  <c:v>107.38059540182375</c:v>
                </c:pt>
                <c:pt idx="213">
                  <c:v>110.29084808292379</c:v>
                </c:pt>
                <c:pt idx="214">
                  <c:v>113.66901935173154</c:v>
                </c:pt>
                <c:pt idx="215">
                  <c:v>117.02518830775672</c:v>
                </c:pt>
                <c:pt idx="216">
                  <c:v>119.89943630359885</c:v>
                </c:pt>
                <c:pt idx="217">
                  <c:v>123.33954603001733</c:v>
                </c:pt>
                <c:pt idx="218">
                  <c:v>126.42909176063344</c:v>
                </c:pt>
                <c:pt idx="219">
                  <c:v>129.39123818575592</c:v>
                </c:pt>
                <c:pt idx="220">
                  <c:v>132.50817087240537</c:v>
                </c:pt>
                <c:pt idx="221">
                  <c:v>135.47476878203813</c:v>
                </c:pt>
                <c:pt idx="222">
                  <c:v>138.43144377340096</c:v>
                </c:pt>
                <c:pt idx="223">
                  <c:v>141.29231123211156</c:v>
                </c:pt>
                <c:pt idx="224">
                  <c:v>144.04370768930377</c:v>
                </c:pt>
                <c:pt idx="225">
                  <c:v>146.66348399585124</c:v>
                </c:pt>
                <c:pt idx="226">
                  <c:v>149.1524610264967</c:v>
                </c:pt>
                <c:pt idx="227">
                  <c:v>151.50082146734107</c:v>
                </c:pt>
                <c:pt idx="228">
                  <c:v>153.68748928883807</c:v>
                </c:pt>
                <c:pt idx="229">
                  <c:v>155.70668230327226</c:v>
                </c:pt>
                <c:pt idx="230">
                  <c:v>157.5495058997754</c:v>
                </c:pt>
                <c:pt idx="231">
                  <c:v>159.20707505981056</c:v>
                </c:pt>
                <c:pt idx="232">
                  <c:v>160.66464023440992</c:v>
                </c:pt>
                <c:pt idx="233">
                  <c:v>161.92691213212444</c:v>
                </c:pt>
                <c:pt idx="234">
                  <c:v>162.98127834727845</c:v>
                </c:pt>
                <c:pt idx="235">
                  <c:v>163.81895180340678</c:v>
                </c:pt>
                <c:pt idx="236">
                  <c:v>164.44954595480891</c:v>
                </c:pt>
                <c:pt idx="237">
                  <c:v>164.85653515127959</c:v>
                </c:pt>
                <c:pt idx="238">
                  <c:v>165.04103493814404</c:v>
                </c:pt>
                <c:pt idx="239">
                  <c:v>165.00794265101251</c:v>
                </c:pt>
                <c:pt idx="240">
                  <c:v>164.75535453317457</c:v>
                </c:pt>
                <c:pt idx="241">
                  <c:v>164.28462204337342</c:v>
                </c:pt>
                <c:pt idx="242">
                  <c:v>163.59666325995738</c:v>
                </c:pt>
                <c:pt idx="243">
                  <c:v>162.70109010827719</c:v>
                </c:pt>
                <c:pt idx="244">
                  <c:v>161.59742859063795</c:v>
                </c:pt>
                <c:pt idx="245">
                  <c:v>160.29309307999276</c:v>
                </c:pt>
                <c:pt idx="246">
                  <c:v>158.79666567802357</c:v>
                </c:pt>
                <c:pt idx="247">
                  <c:v>157.11264937050902</c:v>
                </c:pt>
                <c:pt idx="248">
                  <c:v>155.25093235596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E4-4310-8D88-35AA518529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64.523724714654563</c:v>
                </c:pt>
                <c:pt idx="196">
                  <c:v>65.24143728148114</c:v>
                </c:pt>
                <c:pt idx="197">
                  <c:v>67.705106318516883</c:v>
                </c:pt>
                <c:pt idx="198">
                  <c:v>70.770587690836564</c:v>
                </c:pt>
                <c:pt idx="199">
                  <c:v>71.579165436435034</c:v>
                </c:pt>
                <c:pt idx="200">
                  <c:v>74.016828761072887</c:v>
                </c:pt>
                <c:pt idx="201">
                  <c:v>75.136036758279303</c:v>
                </c:pt>
                <c:pt idx="202">
                  <c:v>75.574316679087417</c:v>
                </c:pt>
                <c:pt idx="203">
                  <c:v>76.460725932015094</c:v>
                </c:pt>
                <c:pt idx="204">
                  <c:v>77.726081576507582</c:v>
                </c:pt>
                <c:pt idx="205">
                  <c:v>79.357877958099238</c:v>
                </c:pt>
                <c:pt idx="206">
                  <c:v>80.149596550939023</c:v>
                </c:pt>
                <c:pt idx="207">
                  <c:v>82.375770670565444</c:v>
                </c:pt>
                <c:pt idx="208">
                  <c:v>83.496086447089141</c:v>
                </c:pt>
                <c:pt idx="209">
                  <c:v>84.1613202342552</c:v>
                </c:pt>
                <c:pt idx="210">
                  <c:v>84.940727032652191</c:v>
                </c:pt>
                <c:pt idx="211">
                  <c:v>86.185852221797518</c:v>
                </c:pt>
                <c:pt idx="212">
                  <c:v>87.247176349736321</c:v>
                </c:pt>
                <c:pt idx="213">
                  <c:v>88.035992306846182</c:v>
                </c:pt>
                <c:pt idx="214">
                  <c:v>89.172311695695399</c:v>
                </c:pt>
                <c:pt idx="215">
                  <c:v>90.216913679022909</c:v>
                </c:pt>
                <c:pt idx="216">
                  <c:v>90.72278303307354</c:v>
                </c:pt>
                <c:pt idx="217">
                  <c:v>91.777280628700368</c:v>
                </c:pt>
                <c:pt idx="218">
                  <c:v>92.418347965236052</c:v>
                </c:pt>
                <c:pt idx="219">
                  <c:v>92.914569567298443</c:v>
                </c:pt>
                <c:pt idx="220">
                  <c:v>93.565485726455279</c:v>
                </c:pt>
                <c:pt idx="221">
                  <c:v>94.048667151660922</c:v>
                </c:pt>
                <c:pt idx="222">
                  <c:v>94.544935183610761</c:v>
                </c:pt>
                <c:pt idx="223">
                  <c:v>94.968630657157931</c:v>
                </c:pt>
                <c:pt idx="224">
                  <c:v>95.317863737207404</c:v>
                </c:pt>
                <c:pt idx="225">
                  <c:v>95.5820364653231</c:v>
                </c:pt>
                <c:pt idx="226">
                  <c:v>95.773350160422851</c:v>
                </c:pt>
                <c:pt idx="227">
                  <c:v>95.89312862737971</c:v>
                </c:pt>
                <c:pt idx="228">
                  <c:v>95.93100086751501</c:v>
                </c:pt>
                <c:pt idx="229">
                  <c:v>95.891581322553535</c:v>
                </c:pt>
                <c:pt idx="230">
                  <c:v>95.77585588586355</c:v>
                </c:pt>
                <c:pt idx="231">
                  <c:v>95.584189746052999</c:v>
                </c:pt>
                <c:pt idx="232">
                  <c:v>95.310285519781445</c:v>
                </c:pt>
                <c:pt idx="233">
                  <c:v>94.966625297298933</c:v>
                </c:pt>
                <c:pt idx="234">
                  <c:v>94.547590066488596</c:v>
                </c:pt>
                <c:pt idx="235">
                  <c:v>94.050535531497559</c:v>
                </c:pt>
                <c:pt idx="236">
                  <c:v>93.490470806265506</c:v>
                </c:pt>
                <c:pt idx="237">
                  <c:v>92.855267503757673</c:v>
                </c:pt>
                <c:pt idx="238">
                  <c:v>92.14944993747244</c:v>
                </c:pt>
                <c:pt idx="239">
                  <c:v>91.380396745272321</c:v>
                </c:pt>
                <c:pt idx="240">
                  <c:v>90.54771837258626</c:v>
                </c:pt>
                <c:pt idx="241">
                  <c:v>89.653338597229251</c:v>
                </c:pt>
                <c:pt idx="242">
                  <c:v>88.697784944831611</c:v>
                </c:pt>
                <c:pt idx="243">
                  <c:v>87.689452212470314</c:v>
                </c:pt>
                <c:pt idx="244">
                  <c:v>86.625725567185924</c:v>
                </c:pt>
                <c:pt idx="245">
                  <c:v>85.511023301568159</c:v>
                </c:pt>
                <c:pt idx="246">
                  <c:v>84.350165296549548</c:v>
                </c:pt>
                <c:pt idx="247">
                  <c:v>83.14314581253231</c:v>
                </c:pt>
                <c:pt idx="248">
                  <c:v>81.894672771416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E4-4310-8D88-35AA5185297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64.585956644619955</c:v>
                </c:pt>
                <c:pt idx="196">
                  <c:v>65.429539007251833</c:v>
                </c:pt>
                <c:pt idx="197">
                  <c:v>68.0704326089011</c:v>
                </c:pt>
                <c:pt idx="198">
                  <c:v>71.35985509021107</c:v>
                </c:pt>
                <c:pt idx="199">
                  <c:v>72.439931089804674</c:v>
                </c:pt>
                <c:pt idx="200">
                  <c:v>75.204386877958996</c:v>
                </c:pt>
                <c:pt idx="201">
                  <c:v>76.715220829178861</c:v>
                </c:pt>
                <c:pt idx="202">
                  <c:v>77.627995655843989</c:v>
                </c:pt>
                <c:pt idx="203">
                  <c:v>79.022760397514517</c:v>
                </c:pt>
                <c:pt idx="204">
                  <c:v>80.870489271016368</c:v>
                </c:pt>
                <c:pt idx="205">
                  <c:v>83.12663289808421</c:v>
                </c:pt>
                <c:pt idx="206">
                  <c:v>84.607168649340892</c:v>
                </c:pt>
                <c:pt idx="207">
                  <c:v>87.558015493530092</c:v>
                </c:pt>
                <c:pt idx="208">
                  <c:v>89.464178691031364</c:v>
                </c:pt>
                <c:pt idx="209">
                  <c:v>90.12452161289842</c:v>
                </c:pt>
                <c:pt idx="210">
                  <c:v>92.637690753969764</c:v>
                </c:pt>
                <c:pt idx="211">
                  <c:v>94.816999794150306</c:v>
                </c:pt>
                <c:pt idx="212">
                  <c:v>96.840990098232965</c:v>
                </c:pt>
                <c:pt idx="213">
                  <c:v>98.605712777266959</c:v>
                </c:pt>
                <c:pt idx="214">
                  <c:v>100.76988952431996</c:v>
                </c:pt>
                <c:pt idx="215">
                  <c:v>102.86913653702138</c:v>
                </c:pt>
                <c:pt idx="216">
                  <c:v>104.45028013981177</c:v>
                </c:pt>
                <c:pt idx="217">
                  <c:v>106.58136387224037</c:v>
                </c:pt>
                <c:pt idx="218">
                  <c:v>108.32365591473815</c:v>
                </c:pt>
                <c:pt idx="219">
                  <c:v>109.92372673535628</c:v>
                </c:pt>
                <c:pt idx="220">
                  <c:v>111.67325335718159</c:v>
                </c:pt>
                <c:pt idx="221">
                  <c:v>113.25935513799506</c:v>
                </c:pt>
                <c:pt idx="222">
                  <c:v>114.84370496177341</c:v>
                </c:pt>
                <c:pt idx="223">
                  <c:v>116.3416584747937</c:v>
                </c:pt>
                <c:pt idx="224">
                  <c:v>117.74665517762161</c:v>
                </c:pt>
                <c:pt idx="225">
                  <c:v>119.04359746958441</c:v>
                </c:pt>
                <c:pt idx="226">
                  <c:v>120.24032163218068</c:v>
                </c:pt>
                <c:pt idx="227">
                  <c:v>121.33394166042834</c:v>
                </c:pt>
                <c:pt idx="228">
                  <c:v>122.31010903388218</c:v>
                </c:pt>
                <c:pt idx="229">
                  <c:v>123.1696153111002</c:v>
                </c:pt>
                <c:pt idx="230">
                  <c:v>123.90985859936748</c:v>
                </c:pt>
                <c:pt idx="231">
                  <c:v>124.52788900652874</c:v>
                </c:pt>
                <c:pt idx="232">
                  <c:v>125.01442916828347</c:v>
                </c:pt>
                <c:pt idx="233">
                  <c:v>125.37924643312977</c:v>
                </c:pt>
                <c:pt idx="234">
                  <c:v>125.61430591046735</c:v>
                </c:pt>
                <c:pt idx="235">
                  <c:v>125.71486681433747</c:v>
                </c:pt>
                <c:pt idx="236">
                  <c:v>125.69410147219567</c:v>
                </c:pt>
                <c:pt idx="237">
                  <c:v>125.53841296338568</c:v>
                </c:pt>
                <c:pt idx="238">
                  <c:v>125.25120842736524</c:v>
                </c:pt>
                <c:pt idx="239">
                  <c:v>124.83906826471579</c:v>
                </c:pt>
                <c:pt idx="240">
                  <c:v>124.30113971013253</c:v>
                </c:pt>
                <c:pt idx="241">
                  <c:v>123.63920302941857</c:v>
                </c:pt>
                <c:pt idx="242">
                  <c:v>122.85397056289008</c:v>
                </c:pt>
                <c:pt idx="243">
                  <c:v>121.95428916686437</c:v>
                </c:pt>
                <c:pt idx="244">
                  <c:v>120.93831160328689</c:v>
                </c:pt>
                <c:pt idx="245">
                  <c:v>119.81151106227738</c:v>
                </c:pt>
                <c:pt idx="246">
                  <c:v>118.58001550523342</c:v>
                </c:pt>
                <c:pt idx="247">
                  <c:v>117.24537952633068</c:v>
                </c:pt>
                <c:pt idx="248">
                  <c:v>115.81409670094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E4-4310-8D88-35AA51852975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E4-4310-8D88-35AA51852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746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2578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7.11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043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87902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5886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4879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799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862799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481571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374701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6936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25556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80740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63500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11426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60326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30003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43492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7.11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19464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9363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chart" Target="../charts/chart6.xml"/><Relationship Id="rId5" Type="http://schemas.openxmlformats.org/officeDocument/2006/relationships/tags" Target="../tags/tag39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chart" Target="../charts/chart7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10" Type="http://schemas.openxmlformats.org/officeDocument/2006/relationships/chart" Target="../charts/chart8.xml"/><Relationship Id="rId4" Type="http://schemas.openxmlformats.org/officeDocument/2006/relationships/tags" Target="../tags/tag57.xml"/><Relationship Id="rId9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chart" Target="../charts/chart9.xml"/><Relationship Id="rId5" Type="http://schemas.openxmlformats.org/officeDocument/2006/relationships/tags" Target="../tags/tag66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chart" Target="../charts/chart10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chart" Target="../charts/chart1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microsoft.com/office/2007/relationships/hdphoto" Target="../media/hdphoto1.wdp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7.png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ariantní predikce možného vývoje epidemie na podzim 2021</a:t>
            </a:r>
          </a:p>
          <a:p>
            <a:r>
              <a:rPr lang="cs-CZ" sz="5200" b="1" i="1" dirty="0"/>
              <a:t>Vypracováno k 16</a:t>
            </a:r>
            <a:r>
              <a:rPr lang="en-US" sz="5200" b="1" i="1" dirty="0"/>
              <a:t>.</a:t>
            </a:r>
            <a:r>
              <a:rPr lang="cs-CZ" sz="5200" b="1" i="1" dirty="0"/>
              <a:t> </a:t>
            </a:r>
            <a:r>
              <a:rPr lang="en-US" sz="5200" b="1" i="1" dirty="0"/>
              <a:t>1</a:t>
            </a:r>
            <a:r>
              <a:rPr lang="cs-CZ" sz="5200" b="1" i="1" dirty="0"/>
              <a:t>1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120795" y="302471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62500" y="302471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604205" y="2003389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77389" y="301575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72965" y="3347445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604205" y="4050525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65430" y="2329952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65428" y="4369419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65429" y="2433045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48964" y="3304863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48965" y="2433045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67554" y="1744448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525640" y="1977982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64450" y="3069556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800559" y="2021447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217968" y="1246572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47297" y="1653894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77389" y="5252351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42932" y="5524772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925624" y="4438369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38778" y="4115641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108375" y="5161209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</p:spTree>
    <p:extLst>
      <p:ext uri="{BB962C8B-B14F-4D97-AF65-F5344CB8AC3E}">
        <p14:creationId xmlns:p14="http://schemas.microsoft.com/office/powerpoint/2010/main" val="28598622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101600"/>
            <a:ext cx="6507332" cy="1305016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143614" y="1285247"/>
            <a:ext cx="11800735" cy="55686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tvrzuje naplnění rizikového scénáře, který byl vytvořen ke konci srpna a předpokládal naplnění řady rizikových faktorů. Zejména nedostatečné proočkování populace, včetně seniorních generací, kde by žádoucí bylo překonání hranice 90%. Vedle vlivu podzimní sezóny k riziku dále přispívá i schopnost převažující varianty viru unikat vakcinaci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b="1" dirty="0">
              <a:solidFill>
                <a:srgbClr val="C00000"/>
              </a:solidFill>
              <a:latin typeface="Calibri" panose="020F0502020204030204"/>
              <a:cs typeface="+mn-cs"/>
            </a:endParaRPr>
          </a:p>
          <a:p>
            <a:pPr marL="0" indent="0">
              <a:spcBef>
                <a:spcPts val="0"/>
              </a:spcBef>
              <a:buClrTx/>
              <a:buNone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II: rizikový vývoj s významnými zdravotními dopady.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ysoce riziková změna situace daná šířením nové varianty viru významně unikající vakcinac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až &gt; 30%)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 z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ároveň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vykazující zvýšenou přenosnost (nárůst bazální reprodukce minimálně o &gt; 20%, sezonní efekt, vysoký počet rizikových kontaktů v populaci), šíření mezi zranitelnými skupinami obyvatel. Nedostatečná proočkovanost (&lt; 70% v populaci 16+), částečná ztráta (vyprchání) ochrany dokončeným očkováním i u zranitelných a seniorních populačních skupin. Růst zátěže nemocnic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: plně kontrolovatelné šíření epidemie, významný nárůst proočkovanosti populace.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předpokládá dosažení minimálně 80% proočkovanosti populace 16+ v průběhu října (+10% a více proti současnému stavu) a maximální možné doočkování populace 65+ (&gt; 90%). Model předpokládá zpomalení lokálního šíření choroby a dosažení stabilního počtu nově pozitivních případů (plató, R = 1 nebo R &lt; 1). Scénář kalkuluje s rychlým postupem vakcinace (včetně posilujících dávek) a s jejím dlouhodobě trvalým ochranným efektem proti nové variantě viru. Zdravotní dopady jsou nízké, zátěž nemocnic rizikové neros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/realistický/: růst epidemie bez nekontrolovatelných zdravotních dopadů.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realisticky předpokládá sníženou proočkovanost (cca 70% u populace 16+, cca 80% u populace 65+), ale stále kalkuluje s dlouhodobým ochranným efektem dokončeného očkování. Model nicméně pracuje s šířením nové varianty viru unikající částečně vakcinaci a imunitě po prodělaném onemocnění (riziko úniku 25 %)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ředpokládá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ůslednější dodržování opatření v populaci v důsledku zrychlení epidemie, a tedy pokles počtu rizikových kontaktů a efektivní reprodukce nákazy. Ochrana zranitelných skupin je účinná, avšak je započítáno riziko spojené s cca 280 000 neočkovanými a nechráněnými seniory ve věku 65+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B1F1F826-5BB3-4031-BADA-B6C705DF5EEF}"/>
              </a:ext>
            </a:extLst>
          </p:cNvPr>
          <p:cNvCxnSpPr>
            <a:cxnSpLocks/>
          </p:cNvCxnSpPr>
          <p:nvPr/>
        </p:nvCxnSpPr>
        <p:spPr>
          <a:xfrm>
            <a:off x="9144" y="4759967"/>
            <a:ext cx="12140184" cy="29929"/>
          </a:xfrm>
          <a:prstGeom prst="line">
            <a:avLst/>
          </a:prstGeom>
          <a:ln w="2857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ovéPole 7">
            <a:extLst>
              <a:ext uri="{FF2B5EF4-FFF2-40B4-BE49-F238E27FC236}">
                <a16:creationId xmlns:a16="http://schemas.microsoft.com/office/drawing/2014/main" id="{F61C4F8D-0535-487F-81AA-9A430CF04E2D}"/>
              </a:ext>
            </a:extLst>
          </p:cNvPr>
          <p:cNvSpPr txBox="1"/>
          <p:nvPr/>
        </p:nvSpPr>
        <p:spPr>
          <a:xfrm>
            <a:off x="3378505" y="4566157"/>
            <a:ext cx="5605272" cy="3693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Další, již neplatné, scénáře z konce srpna 202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5D71630-2049-4AA5-9CAF-79A89D6907C2}"/>
              </a:ext>
            </a:extLst>
          </p:cNvPr>
          <p:cNvSpPr txBox="1"/>
          <p:nvPr/>
        </p:nvSpPr>
        <p:spPr>
          <a:xfrm>
            <a:off x="3265729" y="2153732"/>
            <a:ext cx="5605272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V současnosti platný scénář vývoje epidemie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626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AD554D8C-E229-4832-AEAD-24F88B6583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965" y="2204920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37516" y="3739059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602604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200608" y="198705"/>
            <a:ext cx="11796603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do prosince 2021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pulační zátěže dle scénáře 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: rizikový vývoj s významnými zdravotními dopady, významný další růst</a:t>
            </a:r>
          </a:p>
        </p:txBody>
      </p:sp>
      <p:graphicFrame>
        <p:nvGraphicFramePr>
          <p:cNvPr id="21" name="Tabulka 10">
            <a:extLst>
              <a:ext uri="{FF2B5EF4-FFF2-40B4-BE49-F238E27FC236}">
                <a16:creationId xmlns:a16="http://schemas.microsoft.com/office/drawing/2014/main" id="{E5273A5B-6F76-4409-B5F3-FB52F2CC9C0A}"/>
              </a:ext>
            </a:extLst>
          </p:cNvPr>
          <p:cNvGraphicFramePr>
            <a:graphicFrameLocks noGrp="1"/>
          </p:cNvGraphicFramePr>
          <p:nvPr/>
        </p:nvGraphicFramePr>
        <p:xfrm>
          <a:off x="169916" y="5371765"/>
          <a:ext cx="7775494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9664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805271721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148378157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3981597030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2471926991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300 00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??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17" name="TextovéPole 25">
            <a:extLst>
              <a:ext uri="{FF2B5EF4-FFF2-40B4-BE49-F238E27FC236}">
                <a16:creationId xmlns:a16="http://schemas.microsoft.com/office/drawing/2014/main" id="{5EFB57E8-C03C-4BC6-8954-AEB442DDEACA}"/>
              </a:ext>
            </a:extLst>
          </p:cNvPr>
          <p:cNvSpPr txBox="1"/>
          <p:nvPr/>
        </p:nvSpPr>
        <p:spPr>
          <a:xfrm>
            <a:off x="338328" y="1428086"/>
            <a:ext cx="4869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8C3C6AD3-827F-488E-A12E-D31FB4891434}"/>
              </a:ext>
            </a:extLst>
          </p:cNvPr>
          <p:cNvCxnSpPr/>
          <p:nvPr/>
        </p:nvCxnSpPr>
        <p:spPr>
          <a:xfrm>
            <a:off x="5641449" y="1294480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4">
            <a:extLst>
              <a:ext uri="{FF2B5EF4-FFF2-40B4-BE49-F238E27FC236}">
                <a16:creationId xmlns:a16="http://schemas.microsoft.com/office/drawing/2014/main" id="{78DFEEE3-9D8E-4966-89B9-326E9AE978A1}"/>
              </a:ext>
            </a:extLst>
          </p:cNvPr>
          <p:cNvSpPr txBox="1"/>
          <p:nvPr/>
        </p:nvSpPr>
        <p:spPr>
          <a:xfrm>
            <a:off x="6172672" y="1132016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(simulace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FEB96B75-0CDC-469A-8FB0-163D7ECCAFAF}"/>
              </a:ext>
            </a:extLst>
          </p:cNvPr>
          <p:cNvSpPr txBox="1"/>
          <p:nvPr/>
        </p:nvSpPr>
        <p:spPr>
          <a:xfrm>
            <a:off x="338328" y="957028"/>
            <a:ext cx="37020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64001B01-3C7D-4FAD-B106-5EF6230E2BF6}"/>
              </a:ext>
            </a:extLst>
          </p:cNvPr>
          <p:cNvSpPr txBox="1"/>
          <p:nvPr/>
        </p:nvSpPr>
        <p:spPr>
          <a:xfrm>
            <a:off x="8151584" y="996233"/>
            <a:ext cx="3962423" cy="569386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zikový scénář pracující s rizikovými parametry, které nevyhnutelně povedou k nárůstu zátěže nemocnic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ysoce riziková změna situace daná šířením Delta varianty viru významně unikající vakcinaci (až &gt; 35% - 40%) a zároveň vykazující zvýšenou přenosnost (nárůst bazální reprodukce minimálně o &gt; 20%, sezonní efekt, vysoký počet rizikových kontaktů v populaci), šíření mezi zranitelnými skupinami obyvatel. Nedostatečná proočkovanost (&lt; 70% v populaci 16+), částečná ztráta (vyprchání) ochrany dokončeným očkováním i u zranitelných a seniorních populačních skupin. Ochrana zranitelných skupin je částečně neúčinná, je započítáno riziko spojené s cca 390 000 neočkovanými a nechráněnými seniory ve věku 60+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0. uvažovaný dopad podzimních prázdnin a dílčího zpřísnění opatření, snížení kontaktů a základní reprodukce o 20 %. </a:t>
            </a:r>
            <a:r>
              <a:rPr kumimoji="0" lang="cs-CZ" sz="14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listopadu se počítá opět s významnějším zvýšením počtu kontaktů.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A453116-160F-4508-8FD5-FCE0B5BC0D21}"/>
              </a:ext>
            </a:extLst>
          </p:cNvPr>
          <p:cNvSpPr txBox="1"/>
          <p:nvPr/>
        </p:nvSpPr>
        <p:spPr>
          <a:xfrm>
            <a:off x="338328" y="1728530"/>
            <a:ext cx="76070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 scénář vedoucí k významnému růstu virové nálože v populaci a následně také k značnému navýšení zátěže nemocnic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nář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acuje s významnějším opětovným navýšením kontaktů od listopadu a představuje jednu z nejrizikovějších (nicméně stále pravděpodobných) variant vývoje (nutné pro přípravu testovacích a trasovacích kapacit)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4D229938-1AE3-4B08-BE44-DD405E701CBB}"/>
              </a:ext>
            </a:extLst>
          </p:cNvPr>
          <p:cNvSpPr txBox="1"/>
          <p:nvPr/>
        </p:nvSpPr>
        <p:spPr>
          <a:xfrm>
            <a:off x="1989680" y="2528085"/>
            <a:ext cx="442874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ažení vrcholu v šíření a následně doba trvání „plató“, případně rychlost následného poklesu jsou modelovány na základě populačních parametrů a jsou zatíženy značnou nejistotou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: doprava 1">
            <a:extLst>
              <a:ext uri="{FF2B5EF4-FFF2-40B4-BE49-F238E27FC236}">
                <a16:creationId xmlns:a16="http://schemas.microsoft.com/office/drawing/2014/main" id="{7AA39E80-FE8B-4563-A2CE-3DD6EF4EA238}"/>
              </a:ext>
            </a:extLst>
          </p:cNvPr>
          <p:cNvSpPr/>
          <p:nvPr/>
        </p:nvSpPr>
        <p:spPr>
          <a:xfrm>
            <a:off x="6498979" y="2564163"/>
            <a:ext cx="338555" cy="470442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716B41A-7E50-4C50-9CCC-F89ABBB22F57}"/>
              </a:ext>
            </a:extLst>
          </p:cNvPr>
          <p:cNvSpPr txBox="1"/>
          <p:nvPr/>
        </p:nvSpPr>
        <p:spPr>
          <a:xfrm>
            <a:off x="7176089" y="2596781"/>
            <a:ext cx="530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2075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08" y="107933"/>
            <a:ext cx="6702661" cy="1059255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jekce krátkodobých modelů SIR </a:t>
            </a:r>
            <a:b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vývoj epidemie v listopad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126" y="1533113"/>
            <a:ext cx="7742870" cy="44288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800" b="1" dirty="0"/>
              <a:t>V návaznosti na novou kalibraci modelu 12. 11. byly připraveny nové krátkodobé projekce vývoje*</a:t>
            </a:r>
          </a:p>
          <a:p>
            <a:r>
              <a:rPr lang="cs-CZ" sz="1800" b="1" dirty="0">
                <a:solidFill>
                  <a:srgbClr val="00B050"/>
                </a:solidFill>
              </a:rPr>
              <a:t>Scénář A (scénář pomalého růstu; předpokládané R = 1,10)</a:t>
            </a:r>
          </a:p>
          <a:p>
            <a:pPr lvl="1"/>
            <a:r>
              <a:rPr lang="cs-CZ" sz="1600" dirty="0"/>
              <a:t>zřetelné zpomalení díky </a:t>
            </a:r>
            <a:r>
              <a:rPr lang="en-US" sz="1600" dirty="0" err="1"/>
              <a:t>testov</a:t>
            </a:r>
            <a:r>
              <a:rPr lang="cs-CZ" sz="1600" dirty="0" err="1"/>
              <a:t>ání</a:t>
            </a:r>
            <a:r>
              <a:rPr lang="cs-CZ" sz="1600" dirty="0"/>
              <a:t>, proočkovanosti, dodržování opatření apod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středního růstu; předpokládané R = 1,20)</a:t>
            </a:r>
          </a:p>
          <a:p>
            <a:pPr lvl="1"/>
            <a:r>
              <a:rPr lang="cs-CZ" sz="1600" dirty="0"/>
              <a:t>zpomalení díky </a:t>
            </a:r>
            <a:r>
              <a:rPr lang="en-US" sz="1600" dirty="0" err="1"/>
              <a:t>testov</a:t>
            </a:r>
            <a:r>
              <a:rPr lang="cs-CZ" sz="1600" dirty="0" err="1"/>
              <a:t>ání</a:t>
            </a:r>
            <a:r>
              <a:rPr lang="cs-CZ" sz="1600" dirty="0"/>
              <a:t>, proočkovanosti, dodržování opatření apod.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rychlého růstu, předpokládané R = 1,30)</a:t>
            </a:r>
          </a:p>
          <a:p>
            <a:pPr lvl="1"/>
            <a:r>
              <a:rPr lang="cs-CZ" sz="1600" dirty="0"/>
              <a:t>pokračující růst, nedostatečná kolektivní imunita, vakcinace významně v čase nepostupuje a projevuje se schopnost viru částečně prolomit vakcinaci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scénář velmi rychlého růstu, předpokládané R = 1,40)</a:t>
            </a:r>
          </a:p>
          <a:p>
            <a:pPr lvl="1"/>
            <a:r>
              <a:rPr lang="cs-CZ" sz="1600" dirty="0"/>
              <a:t>odpovídá aktuální hodnotě reprodukčního čísla</a:t>
            </a:r>
          </a:p>
          <a:p>
            <a:pPr lvl="1"/>
            <a:r>
              <a:rPr lang="cs-CZ" sz="1600" dirty="0"/>
              <a:t>vysoký počet rizikových kontaktů, nedostatečná kolektivní imunita, vakcinace významně v čase nepostupuje a projevuje se schopnost viru částečně prolomit vakcinaci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76201" y="5961934"/>
            <a:ext cx="12045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rojekce odpovídají kalibraci reprodukčního čísla epidemiologickým modelem pro krátkodobé predikce ÚZIS ČR v segmentu od 4</a:t>
            </a:r>
            <a:r>
              <a:rPr lang="en-US" sz="1200" dirty="0">
                <a:solidFill>
                  <a:srgbClr val="000000"/>
                </a:solidFill>
                <a:latin typeface="Arial" panose="020B0604020202020204"/>
              </a:rPr>
              <a:t>.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1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o 11.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1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, odha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3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2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5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interval odpovídá 95% intervalu neurčitosti z odhadů získaných kalibrací modelu, kalibračním cílem byly denní přírůstky s vyjmutím volných dnů a exponenciální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200" dirty="0">
                <a:solidFill>
                  <a:srgbClr val="000000"/>
                </a:solidFill>
                <a:latin typeface="Arial" panose="020B0604020202020204"/>
              </a:rPr>
              <a:t>1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.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862246AC-1146-4076-847F-695D29DD53B0}"/>
              </a:ext>
            </a:extLst>
          </p:cNvPr>
          <p:cNvSpPr txBox="1"/>
          <p:nvPr/>
        </p:nvSpPr>
        <p:spPr>
          <a:xfrm>
            <a:off x="8096921" y="1717902"/>
            <a:ext cx="3752487" cy="36933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vývoje na bázi modelů SIR nenahrazují dlouhodobé populační modely sledování vývoje epidemie. Projekce slouží zejména k doložení pravděpodobného vývoje počtu nových případů při dané dynamice růstu virové zátěže, tedy pro přípravu kapacit v managementu epidemie. Projekce vychází z reálných dat a trendů posledních cca tří týdnů a ukazují možný vývoj při dané hodnotě R a při zachování objemu a struktury prováděných testů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6777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49B07879-1D7D-432F-964E-F4D01F6C03A2}"/>
              </a:ext>
            </a:extLst>
          </p:cNvPr>
          <p:cNvGraphicFramePr/>
          <p:nvPr/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927" y="2"/>
            <a:ext cx="11650316" cy="576000"/>
          </a:xfrm>
        </p:spPr>
        <p:txBody>
          <a:bodyPr/>
          <a:lstStyle/>
          <a:p>
            <a:r>
              <a:rPr lang="cs-CZ" sz="2400" dirty="0"/>
              <a:t>Krátkodobá projekce modelů SIR dle hodnoty efektivního reprodukčního čísla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86260" y="1280324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645828" y="771817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4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645828" y="2420086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10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3953410" y="1014375"/>
            <a:ext cx="578118" cy="681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>
            <a:cxnSpLocks/>
          </p:cNvCxnSpPr>
          <p:nvPr/>
        </p:nvCxnSpPr>
        <p:spPr>
          <a:xfrm>
            <a:off x="3990644" y="1874252"/>
            <a:ext cx="540884" cy="687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 rot="16200000">
            <a:off x="-1107773" y="4633294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5567743" y="122816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526655" y="522334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823835" y="5171538"/>
            <a:ext cx="207061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5273490" y="1383197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5567743" y="143562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5273490" y="1606504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5273490" y="202067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5567743" y="1861955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5C97B4C-ED25-4E57-BB83-FAED72C8D978}"/>
              </a:ext>
            </a:extLst>
          </p:cNvPr>
          <p:cNvSpPr txBox="1"/>
          <p:nvPr/>
        </p:nvSpPr>
        <p:spPr>
          <a:xfrm>
            <a:off x="5568235" y="1655479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4C853E7-AA17-488D-8B4F-4A4F18501DC6}"/>
              </a:ext>
            </a:extLst>
          </p:cNvPr>
          <p:cNvCxnSpPr>
            <a:cxnSpLocks/>
          </p:cNvCxnSpPr>
          <p:nvPr/>
        </p:nvCxnSpPr>
        <p:spPr>
          <a:xfrm>
            <a:off x="5273490" y="1806688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CF058705-E099-4F5E-B598-06B4E55917DD}"/>
              </a:ext>
            </a:extLst>
          </p:cNvPr>
          <p:cNvSpPr txBox="1"/>
          <p:nvPr/>
        </p:nvSpPr>
        <p:spPr>
          <a:xfrm>
            <a:off x="9686716" y="1288153"/>
            <a:ext cx="2018923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8 583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1 669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8 919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 509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2459DD16-28CB-4A95-A8DA-390A11D753DB}"/>
              </a:ext>
            </a:extLst>
          </p:cNvPr>
          <p:cNvSpPr txBox="1"/>
          <p:nvPr/>
        </p:nvSpPr>
        <p:spPr>
          <a:xfrm>
            <a:off x="9621177" y="2320000"/>
            <a:ext cx="2452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stávajícím objemu testů a jejich relativní pozitivitě jsou tyto počty případů již mimo detekovatelný rozsah 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4A673CC3-894D-4484-97BE-A0AE72E291D9}"/>
              </a:ext>
            </a:extLst>
          </p:cNvPr>
          <p:cNvSpPr txBox="1"/>
          <p:nvPr/>
        </p:nvSpPr>
        <p:spPr>
          <a:xfrm>
            <a:off x="1356286" y="3876651"/>
            <a:ext cx="7560649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a zachování objemu testů existuje potenciál k překročení hranice 19 000 nových případů </a:t>
            </a:r>
            <a:r>
              <a:rPr kumimoji="0" lang="cs-CZ" sz="1600" b="1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ě denně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37A8301-F7B1-417D-B84D-D9D749827B00}"/>
              </a:ext>
            </a:extLst>
          </p:cNvPr>
          <p:cNvCxnSpPr>
            <a:cxnSpLocks/>
          </p:cNvCxnSpPr>
          <p:nvPr/>
        </p:nvCxnSpPr>
        <p:spPr>
          <a:xfrm flipH="1">
            <a:off x="1304678" y="4525150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937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59" y="-18593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683230" y="3054720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37629" y="43883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17372" y="4346588"/>
            <a:ext cx="302344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388485" y="3209755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683230" y="3279940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88485" y="3433062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388485" y="3881367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675373" y="3732071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372766" y="3208280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89FB82C-0781-4D81-8598-ADCA44A2C668}"/>
              </a:ext>
            </a:extLst>
          </p:cNvPr>
          <p:cNvSpPr txBox="1"/>
          <p:nvPr/>
        </p:nvSpPr>
        <p:spPr>
          <a:xfrm>
            <a:off x="1684165" y="3497837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6ABB5C34-E37E-4393-9335-919B32DCDD69}"/>
              </a:ext>
            </a:extLst>
          </p:cNvPr>
          <p:cNvCxnSpPr>
            <a:cxnSpLocks/>
          </p:cNvCxnSpPr>
          <p:nvPr/>
        </p:nvCxnSpPr>
        <p:spPr>
          <a:xfrm>
            <a:off x="1389420" y="364904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522182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48775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8024051" y="89297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569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897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372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69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7951623" y="556389"/>
            <a:ext cx="2221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C816283E-3E14-4DB6-A56D-E16750940161}"/>
              </a:ext>
            </a:extLst>
          </p:cNvPr>
          <p:cNvSpPr txBox="1"/>
          <p:nvPr/>
        </p:nvSpPr>
        <p:spPr>
          <a:xfrm>
            <a:off x="1370195" y="1881482"/>
            <a:ext cx="6524427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existuje potenciál k brzkému překročení hranice 900 nových případů na 100 tis. obyvatel týd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93FB78B4-02B0-43DA-B117-81B70A729757}"/>
              </a:ext>
            </a:extLst>
          </p:cNvPr>
          <p:cNvCxnSpPr>
            <a:cxnSpLocks/>
          </p:cNvCxnSpPr>
          <p:nvPr/>
        </p:nvCxnSpPr>
        <p:spPr>
          <a:xfrm flipH="1">
            <a:off x="1318586" y="2502890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78835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Projekce predikcí do vývoje zátěže nemocnic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5959751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97467"/>
              </p:ext>
            </p:extLst>
          </p:nvPr>
        </p:nvGraphicFramePr>
        <p:xfrm>
          <a:off x="320040" y="2824205"/>
          <a:ext cx="11805282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53774" y="2039373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BD7252EE-5071-4E6F-8048-257003F8720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84874238"/>
              </p:ext>
            </p:extLst>
          </p:nvPr>
        </p:nvGraphicFramePr>
        <p:xfrm>
          <a:off x="5728286" y="1568169"/>
          <a:ext cx="4551676" cy="1577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364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1348034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u="sng" dirty="0">
                          <a:solidFill>
                            <a:srgbClr val="0000CC"/>
                          </a:solidFill>
                          <a:latin typeface="+mn-lt"/>
                        </a:rPr>
                        <a:t>Nově diagnostikovaní ve věku 65+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3 647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8 220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14 549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04697" y="157620"/>
            <a:ext cx="968029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nakažených potenciálně zranitelných pacientů roste a stejně tak i zátěž nemocnic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C86B7F60-B390-4ABA-A7A0-C7F9F0A95EA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V="1">
            <a:off x="9794887" y="3440615"/>
            <a:ext cx="1704386" cy="140048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A269EE1-023D-4923-A274-306C012431E7}"/>
              </a:ext>
            </a:extLst>
          </p:cNvPr>
          <p:cNvSpPr txBox="1"/>
          <p:nvPr/>
        </p:nvSpPr>
        <p:spPr>
          <a:xfrm rot="16200000">
            <a:off x="-1310973" y="4539702"/>
            <a:ext cx="3091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ty nových případů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10AF520-147D-4CFF-8DC6-804057044140}"/>
              </a:ext>
            </a:extLst>
          </p:cNvPr>
          <p:cNvSpPr txBox="1"/>
          <p:nvPr/>
        </p:nvSpPr>
        <p:spPr>
          <a:xfrm>
            <a:off x="1274063" y="3828540"/>
            <a:ext cx="6364410" cy="92333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 přibývá v prevalenci průměrně cca 1200 potenciálně zranitelných nově nakažených osob ve věku 65+. Rostoucí zásah těchto populačních skupin nevyhnutelně navýší zátěž nemocnic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78362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003201"/>
              </p:ext>
            </p:extLst>
          </p:nvPr>
        </p:nvGraphicFramePr>
        <p:xfrm>
          <a:off x="320040" y="2824205"/>
          <a:ext cx="11805282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53774" y="2039373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7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BD7252EE-5071-4E6F-8048-257003F8720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5046337"/>
              </p:ext>
            </p:extLst>
          </p:nvPr>
        </p:nvGraphicFramePr>
        <p:xfrm>
          <a:off x="5728286" y="1568169"/>
          <a:ext cx="4551676" cy="1577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364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1348034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u="sng" dirty="0">
                          <a:solidFill>
                            <a:srgbClr val="0000CC"/>
                          </a:solidFill>
                          <a:latin typeface="+mn-lt"/>
                        </a:rPr>
                        <a:t>Nově diagnostikovaní ve věku 65+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1 552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3 391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6 100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04697" y="157620"/>
            <a:ext cx="968029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nakažených potenciálně zranitelných pacientů roste a stejně tak i zátěž nemocnic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C86B7F60-B390-4ABA-A7A0-C7F9F0A95EA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 flipV="1">
            <a:off x="9892145" y="3440616"/>
            <a:ext cx="1607128" cy="141771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A269EE1-023D-4923-A274-306C012431E7}"/>
              </a:ext>
            </a:extLst>
          </p:cNvPr>
          <p:cNvSpPr txBox="1"/>
          <p:nvPr/>
        </p:nvSpPr>
        <p:spPr>
          <a:xfrm rot="16200000">
            <a:off x="-1310973" y="4539702"/>
            <a:ext cx="3091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ty nových případů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10AF520-147D-4CFF-8DC6-804057044140}"/>
              </a:ext>
            </a:extLst>
          </p:cNvPr>
          <p:cNvSpPr txBox="1"/>
          <p:nvPr/>
        </p:nvSpPr>
        <p:spPr>
          <a:xfrm>
            <a:off x="1274063" y="3828540"/>
            <a:ext cx="6318227" cy="92333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 přibývá v prevalenci průměrně cca 480 potenciálně zranitelných nově nakažených osob ve věku 75+. Rostoucí zásah těchto populačních skupin nevyhnutelně navýší zátěž nemocnic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54299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ždodenní aktualizace „Risk </a:t>
            </a:r>
            <a:r>
              <a:rPr kumimoji="0" lang="cs-CZ" sz="3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pping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 pro KKIP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7D15109-0AE5-417E-94F8-756A87AE01EE}"/>
              </a:ext>
            </a:extLst>
          </p:cNvPr>
          <p:cNvSpPr txBox="1"/>
          <p:nvPr/>
        </p:nvSpPr>
        <p:spPr>
          <a:xfrm>
            <a:off x="402336" y="6016752"/>
            <a:ext cx="11138430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V následujících cca 10 dnech je nutné očekávat až &gt; 600 nových příjmů do nemocnic denně </a:t>
            </a:r>
          </a:p>
          <a:p>
            <a:pPr algn="ctr"/>
            <a:r>
              <a:rPr lang="cs-CZ" b="1" dirty="0">
                <a:solidFill>
                  <a:schemeClr val="bg1"/>
                </a:solidFill>
              </a:rPr>
              <a:t>(aktuální průměr v pracovních dnech je 495). Na JIP bude denně přijímáno &gt; 80 pacientů. 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5F3CC0D9-D7A2-4943-9B47-5A2FB7BE83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984" y="711200"/>
            <a:ext cx="11697450" cy="505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5607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5737" y="1013958"/>
            <a:ext cx="118205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becný popis celkové situace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Epidemie neustále narůstá, trend rostoucí virové zátěže v populaci je významný (při rostoucí hodnotě R &gt; 1,3). Zátěž nemocnic a zdravotní dopad nově prokázaných nákaz je ve srovnání s říjnem 2020 nižší, avšak v čase v posledních týdnech velmi významně narůstá. Počet hospitalizovaných v těžkém stavu roste (celkově je k 16.11. v ČR takto hospitalizováno na JIP více než 620 pacientů s COVID-19) a denní příjmy pacientů s COVID-19 na JIP překročily počet </a:t>
            </a:r>
            <a:r>
              <a:rPr lang="cs-CZ" dirty="0">
                <a:solidFill>
                  <a:prstClr val="black"/>
                </a:solidFill>
              </a:rPr>
              <a:t>70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 Podíl nových případů se symptomy nemoci v čase roste, a to zejména v nadprůměrně zatížených regionech (v nich překračuje hodnotu 65%). Relativní pozitivita indikovaných testů roste; u testů z klinické a diagnostické indikace přesahuje 30 % (avšak v nejvíce zatížených regionech jako je OLK, MSK přesahuje </a:t>
            </a:r>
            <a:r>
              <a:rPr lang="cs-CZ" dirty="0">
                <a:solidFill>
                  <a:prstClr val="black"/>
                </a:solidFill>
              </a:rPr>
              <a:t>40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%). Většina nově prokázaných případů nákazy jsou neočkovaní lidé (75 - 80%) a rovněž mezi nemocnými v těžkém stavu převažují neočkovaní (70%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ákaza se šíří ve všech věkových kategoriích, nejvyšší hodnoty ale nadále registruje u mladých lidí do 19 </a:t>
            </a:r>
            <a:r>
              <a:rPr lang="cs-CZ" dirty="0">
                <a:solidFill>
                  <a:prstClr val="black"/>
                </a:solidFill>
              </a:rPr>
              <a:t>let (zde týdenní záchyty překračují 2000/100tis. osob). Zátěž ale roste 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 ve věkových kategoriích dospělých do 60 let (v těchto populačních skupinách týdenní záchyty překračují hodnotu 800/100 tis. obyvatel). Bohužel v dalších fázích šíření nákazy již došlo i k výraznějšímu zásahu seniorní a potenciálně zranitelné populace, k 14.11. překročil 7denní počet nových případů ve věku 65+ hranici 300/100 tis. obyv. dané věkové třídy</a:t>
            </a:r>
            <a:r>
              <a:rPr lang="cs-CZ" dirty="0">
                <a:solidFill>
                  <a:prstClr val="black"/>
                </a:solidFill>
              </a:rPr>
              <a:t> a dále roste, včetně rostoucí relativní pozitivity testů (ve věkové třídě 65+ je tato u indikovaných testů vyšší než 26%). </a:t>
            </a: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</a:rPr>
              <a:t>Vývoj potvrzuje naplnění tzv. rizikového scénáře, který byl vytvořen ke konci srpna a předpokládal naplnění řady rizikových faktorů. Zejména nedostatečné proočkování populace, včetně seniorních generací, kde by žádoucí bylo překonání hranice 90%. Vedle vlivu podzimní sezóny k riziku dále přispívá i schopnost převažující varianty viru unikat vakcinaci (ochranný efekt očkování proti nákaze klesnul u seniorů 65+ na cca 60%)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211731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ČNÝ SOUHRN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RIZIKOVÉ FAKTORY</a:t>
            </a:r>
          </a:p>
        </p:txBody>
      </p:sp>
    </p:spTree>
    <p:extLst>
      <p:ext uri="{BB962C8B-B14F-4D97-AF65-F5344CB8AC3E}">
        <p14:creationId xmlns:p14="http://schemas.microsoft.com/office/powerpoint/2010/main" val="5598771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471054" y="2641601"/>
            <a:ext cx="1149065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Vysoká a stále narůstající relativní pozitivita testů (u klinicky a diagnosticky indikovaných testů &gt; 30%, u epidemiologicky indikovaných &gt; 15%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dirty="0">
                <a:solidFill>
                  <a:prstClr val="black"/>
                </a:solidFill>
                <a:latin typeface="Calibri" panose="020F0502020204030204"/>
              </a:rPr>
              <a:t>2. Vysoký počet potenciálně zranitelných osob, které nejsou chráněny vakcinací a ani proděláním nemoci (ve skupině 60+ jde o více než 380 tis. osob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Narůstající zdravotní dopad nových nákaz u mladších (zejména neočkovaných) osob – růst symptomatičnosti, narůstající nové hospitalizace s těžkým průběhem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dirty="0">
                <a:solidFill>
                  <a:prstClr val="black"/>
                </a:solidFill>
                <a:latin typeface="Calibri" panose="020F0502020204030204"/>
              </a:rPr>
              <a:t>4. Vyprchání ochrany očkování proti nákaze, zejména u seniorních ročníků, přičemž výzvu k posilující dávce dosud využívá pouze cca polovina oslovených seniorů</a:t>
            </a:r>
            <a:endParaRPr kumimoji="0" lang="cs-CZ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cs-CZ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2686" y="400469"/>
            <a:ext cx="12026627" cy="19072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čkoli modely ukazují, že by se šíření epidemie mohlo nejpozději v první polovině prosince zpomalit a zátěž by mohla klesnout (vyčerpání počtu primárně citlivých osob), nelze tento fakt označit za 100% jistý. Rovněž není jasné, jak dlouho se zátěž udrží na vrcholových hodnotách. Rizikové varianty vývoje nelze vyloučit, neboť stále existuje řada velmi významných faktorů, které je podporují. Zejména jde o: 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209620" y="5254230"/>
            <a:ext cx="1551709" cy="3758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odnadpis 2">
            <a:extLst>
              <a:ext uri="{FF2B5EF4-FFF2-40B4-BE49-F238E27FC236}">
                <a16:creationId xmlns:a16="http://schemas.microsoft.com/office/drawing/2014/main" id="{FE929EF5-DDB0-41C2-832D-EA5D65FB952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5706726"/>
            <a:ext cx="12026627" cy="6450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těchto důvodů je nutné sledovat i vysoce rizikové varianty vývoje zátěže nemocnic</a:t>
            </a:r>
          </a:p>
        </p:txBody>
      </p:sp>
      <p:sp>
        <p:nvSpPr>
          <p:cNvPr id="11" name="Šipka dolů 9">
            <a:extLst>
              <a:ext uri="{FF2B5EF4-FFF2-40B4-BE49-F238E27FC236}">
                <a16:creationId xmlns:a16="http://schemas.microsoft.com/office/drawing/2014/main" id="{A10E393E-2CD7-46DC-A7EA-73C462831499}"/>
              </a:ext>
            </a:extLst>
          </p:cNvPr>
          <p:cNvSpPr/>
          <p:nvPr/>
        </p:nvSpPr>
        <p:spPr>
          <a:xfrm>
            <a:off x="5209619" y="6274301"/>
            <a:ext cx="1551709" cy="3758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7758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 (denní příjmy do nemocnic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855F0C91-5B1C-4CAE-A964-37541F09E87E}"/>
              </a:ext>
            </a:extLst>
          </p:cNvPr>
          <p:cNvSpPr/>
          <p:nvPr/>
        </p:nvSpPr>
        <p:spPr>
          <a:xfrm>
            <a:off x="7803967" y="109737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357FBF-827C-445F-9DAB-6997B6CCAC3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204594" y="939567"/>
            <a:ext cx="604008" cy="2486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9">
            <a:extLst>
              <a:ext uri="{FF2B5EF4-FFF2-40B4-BE49-F238E27FC236}">
                <a16:creationId xmlns:a16="http://schemas.microsoft.com/office/drawing/2014/main" id="{7D246704-7A32-4BAF-A745-D101A7CE827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469911" y="302209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ní hodnoty predikce</a:t>
            </a:r>
          </a:p>
        </p:txBody>
      </p:sp>
      <p:sp>
        <p:nvSpPr>
          <p:cNvPr id="27" name="TextovéPole 30">
            <a:extLst>
              <a:ext uri="{FF2B5EF4-FFF2-40B4-BE49-F238E27FC236}">
                <a16:creationId xmlns:a16="http://schemas.microsoft.com/office/drawing/2014/main" id="{8DED9F3E-7048-4F0C-A328-13139CFB85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421337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odní hranice predikce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TextovéPole 29">
            <a:extLst>
              <a:ext uri="{FF2B5EF4-FFF2-40B4-BE49-F238E27FC236}">
                <a16:creationId xmlns:a16="http://schemas.microsoft.com/office/drawing/2014/main" id="{B34802EC-09C6-4F42-815E-75908ABF279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186607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rní hranice predikce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1" name="Přímá spojnice 32">
            <a:extLst>
              <a:ext uri="{FF2B5EF4-FFF2-40B4-BE49-F238E27FC236}">
                <a16:creationId xmlns:a16="http://schemas.microsoft.com/office/drawing/2014/main" id="{A0B84346-628A-440C-8D5D-933397A1F73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8469911" y="2830921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3">
            <a:extLst>
              <a:ext uri="{FF2B5EF4-FFF2-40B4-BE49-F238E27FC236}">
                <a16:creationId xmlns:a16="http://schemas.microsoft.com/office/drawing/2014/main" id="{E0D0A1EA-6D43-4BCE-843C-E7BA8B06E3C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8469911" y="4053689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20">
            <a:extLst>
              <a:ext uri="{FF2B5EF4-FFF2-40B4-BE49-F238E27FC236}">
                <a16:creationId xmlns:a16="http://schemas.microsoft.com/office/drawing/2014/main" id="{65F24208-3A66-4BC0-A6F9-7861D97A7190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469911" y="1704029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5">
            <a:extLst>
              <a:ext uri="{FF2B5EF4-FFF2-40B4-BE49-F238E27FC236}">
                <a16:creationId xmlns:a16="http://schemas.microsoft.com/office/drawing/2014/main" id="{775BF37A-7C8D-4F93-8A35-D20D3EA538B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26818" y="5034327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44E11B39-2C45-4539-B0BD-5905477A04D0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07171663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36FF9DE4-D10F-4F1A-824C-8B488A0E6741}"/>
              </a:ext>
            </a:extLst>
          </p:cNvPr>
          <p:cNvCxnSpPr/>
          <p:nvPr/>
        </p:nvCxnSpPr>
        <p:spPr>
          <a:xfrm>
            <a:off x="1097280" y="3016416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1BE5AAE7-B3C3-4232-9B2D-18635CD09BD9}"/>
              </a:ext>
            </a:extLst>
          </p:cNvPr>
          <p:cNvSpPr txBox="1"/>
          <p:nvPr/>
        </p:nvSpPr>
        <p:spPr>
          <a:xfrm>
            <a:off x="1190265" y="3139480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utné očekávat až &gt; 600 nových příjmů do nemocnic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0309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3F33C5DB-17A8-4357-91D1-D87B4D8B7071}"/>
              </a:ext>
            </a:extLst>
          </p:cNvPr>
          <p:cNvCxnSpPr/>
          <p:nvPr/>
        </p:nvCxnSpPr>
        <p:spPr>
          <a:xfrm>
            <a:off x="1207008" y="3006622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4">
            <a:extLst>
              <a:ext uri="{FF2B5EF4-FFF2-40B4-BE49-F238E27FC236}">
                <a16:creationId xmlns:a16="http://schemas.microsoft.com/office/drawing/2014/main" id="{ADD88D1C-2B77-4CB3-AE8F-66EB266CCDBD}"/>
              </a:ext>
            </a:extLst>
          </p:cNvPr>
          <p:cNvSpPr/>
          <p:nvPr/>
        </p:nvSpPr>
        <p:spPr>
          <a:xfrm>
            <a:off x="7803967" y="109737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0" name="TextovéPole 29">
            <a:extLst>
              <a:ext uri="{FF2B5EF4-FFF2-40B4-BE49-F238E27FC236}">
                <a16:creationId xmlns:a16="http://schemas.microsoft.com/office/drawing/2014/main" id="{0DB6627B-CCB1-4C05-9E44-D446EE343D1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302209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ní hodnoty predikce</a:t>
            </a:r>
          </a:p>
        </p:txBody>
      </p:sp>
      <p:sp>
        <p:nvSpPr>
          <p:cNvPr id="21" name="TextovéPole 30">
            <a:extLst>
              <a:ext uri="{FF2B5EF4-FFF2-40B4-BE49-F238E27FC236}">
                <a16:creationId xmlns:a16="http://schemas.microsoft.com/office/drawing/2014/main" id="{5331AD00-E9A2-4DFA-AB25-D3D00E3CA6E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421337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odní hranice predikce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29">
            <a:extLst>
              <a:ext uri="{FF2B5EF4-FFF2-40B4-BE49-F238E27FC236}">
                <a16:creationId xmlns:a16="http://schemas.microsoft.com/office/drawing/2014/main" id="{10D3A55C-9B21-4AF2-80A2-440AB1EA5CF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69911" y="186607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rní hranice predikce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5" name="Přímá spojnice 32">
            <a:extLst>
              <a:ext uri="{FF2B5EF4-FFF2-40B4-BE49-F238E27FC236}">
                <a16:creationId xmlns:a16="http://schemas.microsoft.com/office/drawing/2014/main" id="{F2421DB7-1FC9-4EFA-B08E-AAB2FC822A4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469911" y="2830921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33">
            <a:extLst>
              <a:ext uri="{FF2B5EF4-FFF2-40B4-BE49-F238E27FC236}">
                <a16:creationId xmlns:a16="http://schemas.microsoft.com/office/drawing/2014/main" id="{3B575301-8737-4AC6-91AA-F7832FE5E0E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8469911" y="4053689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Přímá spojnice 20">
            <a:extLst>
              <a:ext uri="{FF2B5EF4-FFF2-40B4-BE49-F238E27FC236}">
                <a16:creationId xmlns:a16="http://schemas.microsoft.com/office/drawing/2014/main" id="{B27B3392-0786-4E5D-AF97-45E3899D8B16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469911" y="1704029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5">
            <a:extLst>
              <a:ext uri="{FF2B5EF4-FFF2-40B4-BE49-F238E27FC236}">
                <a16:creationId xmlns:a16="http://schemas.microsoft.com/office/drawing/2014/main" id="{C9F137CB-F0F4-4F1D-8748-EF29D7E7F577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26818" y="5034327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941CD15A-1CE3-4411-94DD-1CCB688E2430}"/>
              </a:ext>
            </a:extLst>
          </p:cNvPr>
          <p:cNvSpPr txBox="1"/>
          <p:nvPr/>
        </p:nvSpPr>
        <p:spPr>
          <a:xfrm>
            <a:off x="1234716" y="3132084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utné očekávat až &gt; 6000 hospitalizací v jeden den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4582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A1A283C-4E32-4AB5-BAA8-37701DC8E70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F7210146-8392-4D44-88FA-26B8B5312101}"/>
              </a:ext>
            </a:extLst>
          </p:cNvPr>
          <p:cNvCxnSpPr/>
          <p:nvPr/>
        </p:nvCxnSpPr>
        <p:spPr>
          <a:xfrm>
            <a:off x="1087859" y="3022094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4">
            <a:extLst>
              <a:ext uri="{FF2B5EF4-FFF2-40B4-BE49-F238E27FC236}">
                <a16:creationId xmlns:a16="http://schemas.microsoft.com/office/drawing/2014/main" id="{90969DD0-CDA9-4A4F-BE7F-26E71E836EC4}"/>
              </a:ext>
            </a:extLst>
          </p:cNvPr>
          <p:cNvSpPr/>
          <p:nvPr/>
        </p:nvSpPr>
        <p:spPr>
          <a:xfrm>
            <a:off x="7803967" y="109737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0" name="TextovéPole 29">
            <a:extLst>
              <a:ext uri="{FF2B5EF4-FFF2-40B4-BE49-F238E27FC236}">
                <a16:creationId xmlns:a16="http://schemas.microsoft.com/office/drawing/2014/main" id="{8CB83EA1-6688-4A19-A99E-77D53661A4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469911" y="302209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ní hodnoty predikce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4D4B5DE0-6BD3-4E2F-B171-481D6FA451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421337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odní hranice predikce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TextovéPole 29">
            <a:extLst>
              <a:ext uri="{FF2B5EF4-FFF2-40B4-BE49-F238E27FC236}">
                <a16:creationId xmlns:a16="http://schemas.microsoft.com/office/drawing/2014/main" id="{0E0AC782-1083-4455-BF2F-4C695AA142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186607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rní hranice predikce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5" name="Přímá spojnice 32">
            <a:extLst>
              <a:ext uri="{FF2B5EF4-FFF2-40B4-BE49-F238E27FC236}">
                <a16:creationId xmlns:a16="http://schemas.microsoft.com/office/drawing/2014/main" id="{EC9280EB-51CD-48CF-9869-0A2F764D418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8469911" y="2830921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33">
            <a:extLst>
              <a:ext uri="{FF2B5EF4-FFF2-40B4-BE49-F238E27FC236}">
                <a16:creationId xmlns:a16="http://schemas.microsoft.com/office/drawing/2014/main" id="{D7185E95-333B-4753-91F1-E7C843D20B6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8469911" y="4053689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Přímá spojnice 20">
            <a:extLst>
              <a:ext uri="{FF2B5EF4-FFF2-40B4-BE49-F238E27FC236}">
                <a16:creationId xmlns:a16="http://schemas.microsoft.com/office/drawing/2014/main" id="{4635F199-2738-4971-9003-DAB771D33638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469911" y="1704029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5">
            <a:extLst>
              <a:ext uri="{FF2B5EF4-FFF2-40B4-BE49-F238E27FC236}">
                <a16:creationId xmlns:a16="http://schemas.microsoft.com/office/drawing/2014/main" id="{CE6B79FC-CDFA-4F23-B74A-93D61C01A38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26818" y="5034327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5ECAAD6B-F1F1-4665-AA0C-6628DDD520BE}"/>
              </a:ext>
            </a:extLst>
          </p:cNvPr>
          <p:cNvSpPr txBox="1"/>
          <p:nvPr/>
        </p:nvSpPr>
        <p:spPr>
          <a:xfrm>
            <a:off x="1179299" y="3126747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utné očekávat 900 až &gt; 1100 hospitalizací na JIP v jeden den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5904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FDF5EA4B-36A8-4D56-AEEB-041F35A94A7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CCC78012-8D32-4FAC-AEAE-246D9B127FEE}"/>
              </a:ext>
            </a:extLst>
          </p:cNvPr>
          <p:cNvCxnSpPr/>
          <p:nvPr/>
        </p:nvCxnSpPr>
        <p:spPr>
          <a:xfrm>
            <a:off x="1033549" y="3178233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4">
            <a:extLst>
              <a:ext uri="{FF2B5EF4-FFF2-40B4-BE49-F238E27FC236}">
                <a16:creationId xmlns:a16="http://schemas.microsoft.com/office/drawing/2014/main" id="{CDB7C6A5-4C6C-4C72-8C30-0B276CBC9D50}"/>
              </a:ext>
            </a:extLst>
          </p:cNvPr>
          <p:cNvSpPr/>
          <p:nvPr/>
        </p:nvSpPr>
        <p:spPr>
          <a:xfrm>
            <a:off x="7803967" y="109737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30AA4F21-B566-4F5D-B864-9B9D24D8C8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302209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ní hodnoty predikce</a:t>
            </a: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05724F3D-D7A6-4C3F-9333-A0C1CA184E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421337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odní hranice predikce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38713797-8BF9-45D2-96C0-EC34976C679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186607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ý vývoj s významnými zdravotními dopady, </a:t>
            </a:r>
            <a:r>
              <a:rPr kumimoji="0" lang="cs-CZ" sz="11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rní hranice predikce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4" name="Přímá spojnice 32">
            <a:extLst>
              <a:ext uri="{FF2B5EF4-FFF2-40B4-BE49-F238E27FC236}">
                <a16:creationId xmlns:a16="http://schemas.microsoft.com/office/drawing/2014/main" id="{1DDFE20C-EB78-4108-A12C-3AE853357E0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8469911" y="2830921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33">
            <a:extLst>
              <a:ext uri="{FF2B5EF4-FFF2-40B4-BE49-F238E27FC236}">
                <a16:creationId xmlns:a16="http://schemas.microsoft.com/office/drawing/2014/main" id="{AED748AE-70D1-4AB5-BF11-DEFC4E73BB0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469911" y="4053689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20">
            <a:extLst>
              <a:ext uri="{FF2B5EF4-FFF2-40B4-BE49-F238E27FC236}">
                <a16:creationId xmlns:a16="http://schemas.microsoft.com/office/drawing/2014/main" id="{A8E9A4B4-E9FE-4905-9FB2-0FB40262FB76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8469911" y="1704029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5">
            <a:extLst>
              <a:ext uri="{FF2B5EF4-FFF2-40B4-BE49-F238E27FC236}">
                <a16:creationId xmlns:a16="http://schemas.microsoft.com/office/drawing/2014/main" id="{22A7E0C8-5B09-43D8-858C-B070EEB69F3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26818" y="5034327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</p:spTree>
    <p:extLst>
      <p:ext uri="{BB962C8B-B14F-4D97-AF65-F5344CB8AC3E}">
        <p14:creationId xmlns:p14="http://schemas.microsoft.com/office/powerpoint/2010/main" val="38591423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Hospitalizovaní pacienti vs. očkování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á populace ČR 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46F43C38-5815-47A8-A1B5-10A72349680E}"/>
              </a:ext>
            </a:extLst>
          </p:cNvPr>
          <p:cNvSpPr txBox="1"/>
          <p:nvPr/>
        </p:nvSpPr>
        <p:spPr>
          <a:xfrm>
            <a:off x="213276" y="1179576"/>
            <a:ext cx="5789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ý počet hospitalizovaných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D67CCBFC-FC1A-4F19-875A-400DFB893EBE}"/>
              </a:ext>
            </a:extLst>
          </p:cNvPr>
          <p:cNvSpPr txBox="1"/>
          <p:nvPr/>
        </p:nvSpPr>
        <p:spPr>
          <a:xfrm>
            <a:off x="227787" y="3965448"/>
            <a:ext cx="5789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ovaní na JIP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ravá složená závorka 4">
            <a:extLst>
              <a:ext uri="{FF2B5EF4-FFF2-40B4-BE49-F238E27FC236}">
                <a16:creationId xmlns:a16="http://schemas.microsoft.com/office/drawing/2014/main" id="{40C64858-2D5A-4F27-975F-0A2F7DE1155A}"/>
              </a:ext>
            </a:extLst>
          </p:cNvPr>
          <p:cNvSpPr/>
          <p:nvPr/>
        </p:nvSpPr>
        <p:spPr>
          <a:xfrm>
            <a:off x="6483096" y="2084832"/>
            <a:ext cx="411480" cy="3429000"/>
          </a:xfrm>
          <a:prstGeom prst="rightBrac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54D5ECFC-87BC-469E-B6B9-B4945988C56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978369" y="658863"/>
            <a:ext cx="5139739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rostoucí prevalencí virové zátěže populace narůstá pravděpodobnost nákazy i v běžném životě a roste také pravděpodobnost, že při hospitalizaci z jiného důvodu než COVID-19 je zjištěna pozitivita pacienta, a to i po očkování. Proto má velký význam sledovat zejména hospitalizace na JIP, kde jde o těžký průběh onemocnění COVID-19 a tedy prokazatelný závažný zdravotní dopad nákaz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ě platí, že na JIP je z těchto důvodů nově přijímáno cca 70% neočkovaných pacientů,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teří tak generují většinu této nejzávažnější zátěže. Pacienti s těžkým průběhem i po očkování jsou typicky ve velmi seniorním věku (průměr 78 let), s řadou vážných chorob. Důvodem průlomové nákazy zde tedy byl zřejmě špatný zdravotní stav člověka, u kterého vakcína neměla nebo již nemohla vyvolat dostatečný ochranný efekt. </a:t>
            </a:r>
          </a:p>
        </p:txBody>
      </p:sp>
      <p:graphicFrame>
        <p:nvGraphicFramePr>
          <p:cNvPr id="12" name="Tabulka 6">
            <a:extLst>
              <a:ext uri="{FF2B5EF4-FFF2-40B4-BE49-F238E27FC236}">
                <a16:creationId xmlns:a16="http://schemas.microsoft.com/office/drawing/2014/main" id="{9ADA1FDE-B6F0-4571-8FCA-160B98A508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863927"/>
              </p:ext>
            </p:extLst>
          </p:nvPr>
        </p:nvGraphicFramePr>
        <p:xfrm>
          <a:off x="335328" y="1548908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4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7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1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6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35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B7BD9D3C-5149-4C82-BDFA-B059B59BCB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1046749"/>
              </p:ext>
            </p:extLst>
          </p:nvPr>
        </p:nvGraphicFramePr>
        <p:xfrm>
          <a:off x="349839" y="4310030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6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07118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314342" y="3518139"/>
            <a:ext cx="3239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5186080" y="791990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192982" y="794653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05521127-0A49-4BFA-BFA5-A4DFF340F94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B99EF33E-307F-4615-AFCD-D418703F902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1FAB45D9-59B0-49BB-9B40-CB0DC18F3E1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84896C59-8DDF-4774-BFE1-772C98DB83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20FC9FC5-5570-4236-97BF-4F808F056D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2F52F5CF-755A-4D7B-9792-4CA82BF1C11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02AF519-1015-4C02-983B-068C3A8FA12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5F734C9-E337-40C1-8246-E2413886CD6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C667541D-29FF-4AE0-ABEE-4C395FC7096A}"/>
              </a:ext>
            </a:extLst>
          </p:cNvPr>
          <p:cNvSpPr txBox="1"/>
          <p:nvPr/>
        </p:nvSpPr>
        <p:spPr>
          <a:xfrm>
            <a:off x="1099234" y="2451436"/>
            <a:ext cx="5062223" cy="1077218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K počátku prosince je možné očekávat až &gt; 6000 hospitalizací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6ED8A3EF-3FCF-42DA-A572-9EE9901DA075}"/>
              </a:ext>
            </a:extLst>
          </p:cNvPr>
          <p:cNvCxnSpPr>
            <a:cxnSpLocks/>
          </p:cNvCxnSpPr>
          <p:nvPr/>
        </p:nvCxnSpPr>
        <p:spPr>
          <a:xfrm flipH="1">
            <a:off x="1049225" y="3639312"/>
            <a:ext cx="8001643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4F2EC29-D526-47ED-9E98-25E6BF3D69F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51763" y="1033098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38340B60-8287-44A7-811F-142A640C4649}"/>
              </a:ext>
            </a:extLst>
          </p:cNvPr>
          <p:cNvCxnSpPr>
            <a:cxnSpLocks/>
          </p:cNvCxnSpPr>
          <p:nvPr/>
        </p:nvCxnSpPr>
        <p:spPr>
          <a:xfrm flipH="1">
            <a:off x="6797870" y="3597564"/>
            <a:ext cx="590" cy="2190478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Chart 11">
            <a:extLst>
              <a:ext uri="{FF2B5EF4-FFF2-40B4-BE49-F238E27FC236}">
                <a16:creationId xmlns:a16="http://schemas.microsoft.com/office/drawing/2014/main" id="{3492DD38-6CCF-4B2E-AF24-5E9CC69186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3300342"/>
              </p:ext>
            </p:extLst>
          </p:nvPr>
        </p:nvGraphicFramePr>
        <p:xfrm>
          <a:off x="377386" y="176716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17093464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prstClr val="black"/>
                </a:solidFill>
                <a:latin typeface="Arial" panose="020B0604020202020204"/>
              </a:rPr>
              <a:t>Reálný a p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ikovaný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451256" y="87272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458158" y="87538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FD48CE3B-709A-4318-87AD-D2060C509527}"/>
              </a:ext>
            </a:extLst>
          </p:cNvPr>
          <p:cNvSpPr txBox="1"/>
          <p:nvPr/>
        </p:nvSpPr>
        <p:spPr>
          <a:xfrm>
            <a:off x="1108378" y="2495860"/>
            <a:ext cx="5062223" cy="1077218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K počátku prosince je možné očekávat &gt; 900 až &gt; 1 100 hospitalizací na JIP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E4A7B243-89CB-47CE-958A-321775A1AE03}"/>
              </a:ext>
            </a:extLst>
          </p:cNvPr>
          <p:cNvCxnSpPr>
            <a:cxnSpLocks/>
          </p:cNvCxnSpPr>
          <p:nvPr/>
        </p:nvCxnSpPr>
        <p:spPr>
          <a:xfrm flipH="1">
            <a:off x="1067513" y="3694176"/>
            <a:ext cx="8001643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9">
            <a:extLst>
              <a:ext uri="{FF2B5EF4-FFF2-40B4-BE49-F238E27FC236}">
                <a16:creationId xmlns:a16="http://schemas.microsoft.com/office/drawing/2014/main" id="{911F45D9-9713-4E3F-9E29-7D6A6A0C82A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53BD0B13-1811-4DCF-8FDE-A608969C2F2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31" name="Skupina 30">
              <a:extLst>
                <a:ext uri="{FF2B5EF4-FFF2-40B4-BE49-F238E27FC236}">
                  <a16:creationId xmlns:a16="http://schemas.microsoft.com/office/drawing/2014/main" id="{DF6F809D-C097-41EB-AAB3-8CD9FF4FDAA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E6A34631-273A-4101-9D93-15F6C1E28C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3198160F-60BD-42E9-9723-A44A334BE1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3E03C5A3-1287-4A7C-96DE-85F516358B6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1D555824-6182-452A-A16B-6D0BD5BD23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E786808C-0FDF-4DBA-BF20-8E82E3DE0A1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18DE505A-E8F2-4CEF-AF17-94D8703ECD7E}"/>
              </a:ext>
            </a:extLst>
          </p:cNvPr>
          <p:cNvCxnSpPr>
            <a:cxnSpLocks/>
          </p:cNvCxnSpPr>
          <p:nvPr/>
        </p:nvCxnSpPr>
        <p:spPr>
          <a:xfrm flipH="1">
            <a:off x="6788726" y="3597564"/>
            <a:ext cx="590" cy="2190478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9EEC865-C096-42FA-95D5-832ACBA0CC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0916930"/>
              </p:ext>
            </p:extLst>
          </p:nvPr>
        </p:nvGraphicFramePr>
        <p:xfrm>
          <a:off x="386622" y="1856244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35335670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Příloha: souhrnná kvantifikace hlavních ukazatelů stavu epidemie 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1686887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5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2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29554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.11. 2021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2762" y="2367698"/>
            <a:ext cx="1149065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se odvíjí podle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zv. vysoce rizikového scénáře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terý byl pro podzim vytvořen na konci srpna 2021 a který předpokládal souběh působení více rizikových faktorů. Tato riziková situace bohužel nastala a současné trendy jsou determinovány zejména následujícími faktory: </a:t>
            </a:r>
          </a:p>
          <a:p>
            <a:pPr marL="342900" indent="-342900">
              <a:buFontTx/>
              <a:buChar char="-"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razný sezónní efekt usnadňující šíření viru (počasí, zdravotní stav populace, chování populace)</a:t>
            </a:r>
          </a:p>
          <a:p>
            <a:pPr marL="342900" indent="-342900">
              <a:buFontTx/>
              <a:buChar char="-"/>
              <a:defRPr/>
            </a:pPr>
            <a:r>
              <a:rPr lang="cs-CZ" sz="2200" b="1" dirty="0">
                <a:latin typeface="Calibri" panose="020F0502020204030204"/>
              </a:rPr>
              <a:t>R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oucí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valence aktivních nákaz 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ostoucí relativní pozitivita testů) -&gt; rostoucí pravděpodobnost přenosu nákazy i na zranitelnou populaci -&gt; vyšší zdravotní dopad</a:t>
            </a:r>
          </a:p>
          <a:p>
            <a:pPr marL="342900" indent="-342900">
              <a:buFontTx/>
              <a:buChar char="-"/>
              <a:defRPr/>
            </a:pP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le vysoký počet vakcinací nechráněných potenciálně zranitelných obyvatel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cs-CZ" sz="2200" dirty="0">
                <a:latin typeface="Calibri" panose="020F0502020204030204"/>
              </a:rPr>
              <a:t>Nedostatečná proočkovanost mladších generací obyvatel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cs-CZ" sz="2200" dirty="0">
                <a:latin typeface="Calibri" panose="020F0502020204030204"/>
              </a:rPr>
              <a:t>Klesající ochranný efekt vakcín proti samotné nákaze (schopnost viru k tzv. průlomovým nákazám) –&gt; s tím související r</a:t>
            </a:r>
            <a:r>
              <a:rPr kumimoji="0" lang="cs-CZ" sz="2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oucí</a:t>
            </a:r>
            <a:r>
              <a:rPr kumimoji="0" lang="cs-CZ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átěž seniorní populace (i po očkování)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4892902" y="1794976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2686" y="89362"/>
            <a:ext cx="12026627" cy="14944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dlouhodobě rost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ři reprodukčním čísle cca 1,3) a týdenní počet nově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chycených případů překročil hranici </a:t>
            </a: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0/100tis. obyvatel. 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4964673" y="6239757"/>
            <a:ext cx="1551709" cy="4993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4553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468046" y="1201878"/>
          <a:ext cx="4007710" cy="42730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1512" y="647308"/>
            <a:ext cx="129554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.11. 2021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75000" y="1201879"/>
          <a:ext cx="4007710" cy="42730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</a:tbl>
          </a:graphicData>
        </a:graphic>
      </p:graphicFrame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256C204E-ADA7-4ADE-A102-442FD6245E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661092" y="1194637"/>
          <a:ext cx="3424370" cy="35745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9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9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2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5909671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5927777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27403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5936507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5120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885272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26260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5936507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35588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A13EED6-7BE9-4DD5-B41D-847758B5E561}"/>
              </a:ext>
            </a:extLst>
          </p:cNvPr>
          <p:cNvSpPr txBox="1"/>
          <p:nvPr/>
        </p:nvSpPr>
        <p:spPr>
          <a:xfrm>
            <a:off x="8569436" y="4814525"/>
            <a:ext cx="34697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Kalkulováno ze 7denních kumulativních počtů případů onemocnění; vždy ve srovnání populace s dokončeným očkováním vs. populace neočkovaná nebo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/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/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Stejné hranice jsou aplikovány při hodnocení situace odděleně v populaci neočkovaných osob, osob s nedokončeným očkováním a v populaci osob s 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5" y="3451005"/>
            <a:ext cx="441386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ůst počtu i podílu symptomatickýc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padů (&gt; 50%)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153370"/>
            <a:ext cx="11614422" cy="7472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faktory („drivery“) stávajícího růstu </a:t>
            </a:r>
            <a:endParaRPr kumimoji="0" lang="cs-CZ" sz="3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EF890523-B5E1-42DF-84C6-98B45DFDFA41}"/>
              </a:ext>
            </a:extLst>
          </p:cNvPr>
          <p:cNvCxnSpPr>
            <a:cxnSpLocks/>
          </p:cNvCxnSpPr>
          <p:nvPr/>
        </p:nvCxnSpPr>
        <p:spPr>
          <a:xfrm flipH="1">
            <a:off x="1925976" y="1407396"/>
            <a:ext cx="3220269" cy="19690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římá spojnice se šipkou 8">
            <a:extLst>
              <a:ext uri="{FF2B5EF4-FFF2-40B4-BE49-F238E27FC236}">
                <a16:creationId xmlns:a16="http://schemas.microsoft.com/office/drawing/2014/main" id="{B96D6E39-4EE1-40BA-A19C-E44CCBF4C401}"/>
              </a:ext>
            </a:extLst>
          </p:cNvPr>
          <p:cNvCxnSpPr>
            <a:cxnSpLocks/>
          </p:cNvCxnSpPr>
          <p:nvPr/>
        </p:nvCxnSpPr>
        <p:spPr>
          <a:xfrm>
            <a:off x="6042306" y="1407396"/>
            <a:ext cx="0" cy="2951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30D5083-9DC5-45F6-9BAC-4B81D1DC6BB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889070" y="4500552"/>
            <a:ext cx="44138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testů &gt; 40%</a:t>
            </a:r>
          </a:p>
        </p:txBody>
      </p:sp>
      <p:cxnSp>
        <p:nvCxnSpPr>
          <p:cNvPr id="14" name="Přímá spojnice se šipkou 13">
            <a:extLst>
              <a:ext uri="{FF2B5EF4-FFF2-40B4-BE49-F238E27FC236}">
                <a16:creationId xmlns:a16="http://schemas.microsoft.com/office/drawing/2014/main" id="{9E5046FF-86B0-453B-B3C5-AF07FFD24523}"/>
              </a:ext>
            </a:extLst>
          </p:cNvPr>
          <p:cNvCxnSpPr>
            <a:cxnSpLocks/>
          </p:cNvCxnSpPr>
          <p:nvPr/>
        </p:nvCxnSpPr>
        <p:spPr>
          <a:xfrm>
            <a:off x="6938368" y="1365287"/>
            <a:ext cx="3220270" cy="2262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72C8BD9-0C6A-41E8-97F1-1E56C003F2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920717" y="3700333"/>
            <a:ext cx="4066168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sah potenciálně zranitelných skupin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&gt; 400 případů/100tis. za týden)</a:t>
            </a:r>
          </a:p>
        </p:txBody>
      </p:sp>
      <p:sp>
        <p:nvSpPr>
          <p:cNvPr id="19" name="Pravá složená závorka 18">
            <a:extLst>
              <a:ext uri="{FF2B5EF4-FFF2-40B4-BE49-F238E27FC236}">
                <a16:creationId xmlns:a16="http://schemas.microsoft.com/office/drawing/2014/main" id="{EB01149B-F454-4C20-AED1-8835C5932414}"/>
              </a:ext>
            </a:extLst>
          </p:cNvPr>
          <p:cNvSpPr/>
          <p:nvPr/>
        </p:nvSpPr>
        <p:spPr>
          <a:xfrm rot="5400000">
            <a:off x="5786561" y="857896"/>
            <a:ext cx="618876" cy="10118361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C3D9BAD5-F1E0-4C1D-91C4-5BB329504B3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54175" y="6301046"/>
            <a:ext cx="968364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ý konzistentní růst při R &gt; 1,3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F70FB78D-A382-41B2-892A-D12F3E41A880}"/>
              </a:ext>
            </a:extLst>
          </p:cNvPr>
          <p:cNvSpPr txBox="1"/>
          <p:nvPr/>
        </p:nvSpPr>
        <p:spPr>
          <a:xfrm>
            <a:off x="1646228" y="1603444"/>
            <a:ext cx="2927541" cy="52322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zimní sezóna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4BC86239-0113-4F81-BC1D-5F016D673857}"/>
              </a:ext>
            </a:extLst>
          </p:cNvPr>
          <p:cNvSpPr txBox="1"/>
          <p:nvPr/>
        </p:nvSpPr>
        <p:spPr>
          <a:xfrm>
            <a:off x="4683047" y="2888042"/>
            <a:ext cx="2718520" cy="95410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 aktivních nákaz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E1587691-FC85-444C-9584-FE54885F7C49}"/>
              </a:ext>
            </a:extLst>
          </p:cNvPr>
          <p:cNvSpPr txBox="1"/>
          <p:nvPr/>
        </p:nvSpPr>
        <p:spPr>
          <a:xfrm>
            <a:off x="7465638" y="2081535"/>
            <a:ext cx="2927541" cy="52322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čerpání imunit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B39778C6-5FB5-4580-A723-A27DF36ED5CF}"/>
              </a:ext>
            </a:extLst>
          </p:cNvPr>
          <p:cNvSpPr txBox="1"/>
          <p:nvPr/>
        </p:nvSpPr>
        <p:spPr>
          <a:xfrm>
            <a:off x="3999207" y="694506"/>
            <a:ext cx="4026238" cy="52322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nakažlivost viru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AD45A469-BE6B-472F-9C69-4F3A53B836C5}"/>
              </a:ext>
            </a:extLst>
          </p:cNvPr>
          <p:cNvCxnSpPr>
            <a:cxnSpLocks/>
          </p:cNvCxnSpPr>
          <p:nvPr/>
        </p:nvCxnSpPr>
        <p:spPr>
          <a:xfrm flipH="1">
            <a:off x="3226291" y="3323801"/>
            <a:ext cx="1175398" cy="607628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FB1576FF-7CC9-4AE1-8478-7818B1ACA9EA}"/>
              </a:ext>
            </a:extLst>
          </p:cNvPr>
          <p:cNvCxnSpPr>
            <a:cxnSpLocks/>
          </p:cNvCxnSpPr>
          <p:nvPr/>
        </p:nvCxnSpPr>
        <p:spPr>
          <a:xfrm>
            <a:off x="7643178" y="3314604"/>
            <a:ext cx="1166626" cy="607628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5751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0" y="2907443"/>
            <a:ext cx="1149065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roti těžkému průběhu nákazy se drží na hodnotách nad 85%. Pokud by populace nebyla vůbec očkovaná, pak by počet těžkých hospitalizací (při stávající vysoké nakažlivosti Delta varianty viru)  byl až 4x – 5x </a:t>
            </a:r>
            <a:r>
              <a:rPr kumimoji="0" lang="cs-CZ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šš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. 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4892901" y="2096728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2686" y="89362"/>
            <a:ext cx="12026627" cy="14944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opak velmi pozitivním faktorem je stále silný a významný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chranný efekt vakcinace proti těžkému průběhu nákazy,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to zejména v seniorní populaci. 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4964672" y="5572379"/>
            <a:ext cx="1551709" cy="4993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7707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/>
        </p:nvSpPr>
        <p:spPr>
          <a:xfrm>
            <a:off x="229131" y="163863"/>
            <a:ext cx="11675486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hospitalizovaných s COVID-19 na JIP na 100tis. osob v očkované a neočkované populaci (populace 65+)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152D997D-EE6B-4122-A13B-AF760309372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87979" y="886720"/>
          <a:ext cx="11370005" cy="5971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A748D82B-3961-4BFC-8B8F-CF906E5E679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9096305" y="881065"/>
          <a:ext cx="2954284" cy="1381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4284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U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</a:tbl>
          </a:graphicData>
        </a:graphic>
      </p:graphicFrame>
      <p:pic>
        <p:nvPicPr>
          <p:cNvPr id="9" name="Obrázek 8">
            <a:extLst>
              <a:ext uri="{FF2B5EF4-FFF2-40B4-BE49-F238E27FC236}">
                <a16:creationId xmlns:a16="http://schemas.microsoft.com/office/drawing/2014/main" id="{B8FD6B5E-95C6-46E9-AA5D-2951D558CF9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27451" y1="71591" x2="77451" y2="72727"/>
                        <a14:foregroundMark x1="59804" y1="71591" x2="59804" y2="71591"/>
                        <a14:foregroundMark x1="69608" y1="72727" x2="69608" y2="72727"/>
                        <a14:foregroundMark x1="28431" y1="29545" x2="28431" y2="29545"/>
                        <a14:foregroundMark x1="49329" y1="29545" x2="78431" y2="29545"/>
                        <a14:foregroundMark x1="29412" y1="29545" x2="30970" y2="29545"/>
                        <a14:foregroundMark x1="78431" y1="29545" x2="79412" y2="29545"/>
                        <a14:foregroundMark x1="79412" y1="31818" x2="79412" y2="31818"/>
                        <a14:foregroundMark x1="80392" y1="30682" x2="77451" y2="30682"/>
                        <a14:foregroundMark x1="24510" y1="29545" x2="29412" y2="30682"/>
                        <a14:foregroundMark x1="24510" y1="30682" x2="29412" y2="30682"/>
                        <a14:foregroundMark x1="48214" y1="31818" x2="77451" y2="31818"/>
                        <a14:foregroundMark x1="34314" y1="28409" x2="49020" y2="29545"/>
                        <a14:foregroundMark x1="32353" y1="31818" x2="78431" y2="31818"/>
                        <a14:foregroundMark x1="77451" y1="32955" x2="77451" y2="32955"/>
                        <a14:foregroundMark x1="78431" y1="32955" x2="78431" y2="32955"/>
                        <a14:foregroundMark x1="77451" y1="32955" x2="77451" y2="32955"/>
                        <a14:foregroundMark x1="78431" y1="32955" x2="76471" y2="31818"/>
                        <a14:backgroundMark x1="30392" y1="13636" x2="33872" y2="13636"/>
                        <a14:backgroundMark x1="34314" y1="22727" x2="37765" y2="2196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223044" y="1179767"/>
            <a:ext cx="971686" cy="115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0937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plně dokončeného očkování: redukce rizika těžkého průběhu nemoci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7968D945-A0E4-4B96-B24A-CB9C30352DE3}"/>
              </a:ext>
            </a:extLst>
          </p:cNvPr>
          <p:cNvSpPr txBox="1"/>
          <p:nvPr/>
        </p:nvSpPr>
        <p:spPr>
          <a:xfrm>
            <a:off x="305699" y="1675236"/>
            <a:ext cx="13503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ěk 65+</a:t>
            </a: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34BA4106-C3B2-42AE-86CB-515668214A8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550004" y="1043595"/>
          <a:ext cx="9459211" cy="2937369"/>
        </p:xfrm>
        <a:graphic>
          <a:graphicData uri="http://schemas.openxmlformats.org/drawingml/2006/table">
            <a:tbl>
              <a:tblPr/>
              <a:tblGrid>
                <a:gridCol w="2364803">
                  <a:extLst>
                    <a:ext uri="{9D8B030D-6E8A-4147-A177-3AD203B41FA5}">
                      <a16:colId xmlns:a16="http://schemas.microsoft.com/office/drawing/2014/main" val="1012450698"/>
                    </a:ext>
                  </a:extLst>
                </a:gridCol>
                <a:gridCol w="2867427">
                  <a:extLst>
                    <a:ext uri="{9D8B030D-6E8A-4147-A177-3AD203B41FA5}">
                      <a16:colId xmlns:a16="http://schemas.microsoft.com/office/drawing/2014/main" val="2962437353"/>
                    </a:ext>
                  </a:extLst>
                </a:gridCol>
                <a:gridCol w="1612476">
                  <a:extLst>
                    <a:ext uri="{9D8B030D-6E8A-4147-A177-3AD203B41FA5}">
                      <a16:colId xmlns:a16="http://schemas.microsoft.com/office/drawing/2014/main" val="2908102936"/>
                    </a:ext>
                  </a:extLst>
                </a:gridCol>
                <a:gridCol w="2614505">
                  <a:extLst>
                    <a:ext uri="{9D8B030D-6E8A-4147-A177-3AD203B41FA5}">
                      <a16:colId xmlns:a16="http://schemas.microsoft.com/office/drawing/2014/main" val="1508245454"/>
                    </a:ext>
                  </a:extLst>
                </a:gridCol>
              </a:tblGrid>
              <a:tr h="344730"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511605"/>
                  </a:ext>
                </a:extLst>
              </a:tr>
              <a:tr h="524259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íc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u 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čkovaní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nedokončené 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ném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dukce rizika ** pobytu  </a:t>
                      </a:r>
                    </a:p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a JIP po dokončeném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661197"/>
                  </a:ext>
                </a:extLst>
              </a:tr>
              <a:tr h="34473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z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2.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801451"/>
                  </a:ext>
                </a:extLst>
              </a:tr>
              <a:tr h="34473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8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249210"/>
                  </a:ext>
                </a:extLst>
              </a:tr>
              <a:tr h="34473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54973"/>
                  </a:ext>
                </a:extLst>
              </a:tr>
              <a:tr h="34473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-Srp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3.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899942"/>
                  </a:ext>
                </a:extLst>
              </a:tr>
              <a:tr h="34473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r>
                        <a:rPr lang="en-US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r>
                        <a:rPr lang="en-US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465014"/>
                  </a:ext>
                </a:extLst>
              </a:tr>
              <a:tr h="34473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908058"/>
                  </a:ext>
                </a:extLst>
              </a:tr>
            </a:tbl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215E630C-44A7-403E-9E64-57F6898565DD}"/>
              </a:ext>
            </a:extLst>
          </p:cNvPr>
          <p:cNvSpPr txBox="1"/>
          <p:nvPr/>
        </p:nvSpPr>
        <p:spPr>
          <a:xfrm>
            <a:off x="3722651" y="763084"/>
            <a:ext cx="45793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e na JIP na 100tis. osob 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A042532-D6F3-47D5-BFF4-7165586FB0D9}"/>
              </a:ext>
            </a:extLst>
          </p:cNvPr>
          <p:cNvSpPr txBox="1"/>
          <p:nvPr/>
        </p:nvSpPr>
        <p:spPr>
          <a:xfrm>
            <a:off x="205115" y="6343791"/>
            <a:ext cx="11880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Letní období je spojeno z důvodu nízkého počtu případů v jednotlivých měsících; ** Dokončené očkování: více než 14 dní po 2. dávce dvou dávkové vakcíny nebo více než 14 dní po jedno dávkové vakcinaci - relativní snížení rizika hospitalizace na JIP je vztaženo ke kohortě neočkovaných nebo osob s ne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9372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ější modely vývoje epidemie </a:t>
            </a:r>
          </a:p>
          <a:p>
            <a:r>
              <a:rPr lang="cs-CZ" sz="5200" b="1" dirty="0"/>
              <a:t>a jejich krátkodobé projekce 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071973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95887" y="186064"/>
            <a:ext cx="1182466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é predikce vychází z původního modelu SEIR, který byl pro epidemii COVID-19 v ČR adaptován na počátku dubna 2020. Původní model generuje p</a:t>
            </a:r>
            <a:r>
              <a:rPr kumimoji="0" lang="cs-CZ" sz="14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ikce</a:t>
            </a:r>
            <a:r>
              <a:rPr kumimoji="0" lang="cs-CZ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 rizikový vývoj vyvolaný nárůstem rizikových kontaktů nebo zvýšením reprodukční dynamiky nákazy (virtuální efekt případného opětovného uvolnění nebo efekt šíření nakažlivějších forem viru). Nové verze modelu z února 2021 zahrnují i efekt vakcinace (model SEIRV) a umožňují pracovat s rizikem nákazy po vakcinaci při šíření nakažlivějších forem viru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282533" y="624847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39387" y="1947354"/>
            <a:ext cx="115376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a počátku roku 2021 doplněn o komponentu Vakcinace (Model SEIR</a:t>
            </a:r>
            <a:r>
              <a:rPr kumimoji="0" lang="cs-CZ" sz="20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tedy stav po očkování, přičemž predikce pracují s různě nastavitelným ochranným efektem vakcin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s pravděpodobností ztráty ochrany v čase nebo v důsledku šíření nových nakažlivějších variant viru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3587208"/>
            <a:ext cx="1160647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y uvažují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reálných dat ISIN a dle nich pracují s projekcí počtu očkovaných pro budoucí simulace. Jedinec dosáhne ochrany před nákazou až s časovým odstupem po druhé dávce (pomalé scénáře) nebo při první dávce (rychlé scénáře), přičemž se předpokládá i ochrana před možností přenášet infekci. Jedinci přecházejí ze stavů S a R proporčně do stavu V (očkovaní jsou i jedinci s prodělanou infekcí v minulosti – tyto skupiny nejsou vzájemně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juktní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Různé scénáře následně simulují podmínky šíření Delta varianty viru (simulace byla zahájena pro významný start šíření po 20.6. 2021). Navazující pravděpodobnostní stavové modely predikují z vývoje prevalenční zátěže v populaci riziko dopadu na zátěž nemocnic – do těchto modelů vstupují i rizikové faktory související se zranitelností různých skupin populace. </a:t>
            </a: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902FF170-127D-4BBB-9AB4-F9DB6E719F36}"/>
              </a:ext>
            </a:extLst>
          </p:cNvPr>
          <p:cNvSpPr/>
          <p:nvPr/>
        </p:nvSpPr>
        <p:spPr>
          <a:xfrm>
            <a:off x="5282533" y="1277321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411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9735</TotalTime>
  <Words>5513</Words>
  <Application>Microsoft Office PowerPoint</Application>
  <PresentationFormat>Širokoúhlá obrazovka</PresentationFormat>
  <Paragraphs>675</Paragraphs>
  <Slides>31</Slides>
  <Notes>2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31</vt:i4>
      </vt:variant>
    </vt:vector>
  </HeadingPairs>
  <TitlesOfParts>
    <vt:vector size="39" baseType="lpstr">
      <vt:lpstr>Arial</vt:lpstr>
      <vt:lpstr>Arial Black</vt:lpstr>
      <vt:lpstr>Calibri</vt:lpstr>
      <vt:lpstr>Calibri Light</vt:lpstr>
      <vt:lpstr>Motiv Office</vt:lpstr>
      <vt:lpstr>1_Motiv systému Office</vt:lpstr>
      <vt:lpstr>3_Motiv Office</vt:lpstr>
      <vt:lpstr>6_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Scénáře pro dlouhodobé simulace zahrnující efekt vakcinace </vt:lpstr>
      <vt:lpstr>Prezentace aplikace PowerPoint</vt:lpstr>
      <vt:lpstr>Projekce krátkodobých modelů SIR  pro vývoj epidemie v listopadu</vt:lpstr>
      <vt:lpstr>Krátkodobá projekce modelů SIR dle hodnoty efektivního reprodukčního čísla</vt:lpstr>
      <vt:lpstr>7denní hodnoty na 100 tisíc obyvatel: krátkodobá projekce vývoje 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dikovaný počet nových hospitalizačních případů (denní příjmy do nemocnic)</vt:lpstr>
      <vt:lpstr>Predikovaný celkový počet aktuálně hospitalizovaných</vt:lpstr>
      <vt:lpstr>Predikovaný počet aktuálně hospitalizovaných na JIP</vt:lpstr>
      <vt:lpstr>Predikovaný počet zemřelých</vt:lpstr>
      <vt:lpstr>Hospitalizovaní pacienti vs. očkování</vt:lpstr>
      <vt:lpstr>Predikce celkového počtu hospitalizací – aktuální počet léčených </vt:lpstr>
      <vt:lpstr>Predikce počtu pacientů na JIP – aktuální počet případů 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366</cp:revision>
  <dcterms:created xsi:type="dcterms:W3CDTF">2020-03-16T10:06:11Z</dcterms:created>
  <dcterms:modified xsi:type="dcterms:W3CDTF">2021-11-17T20:26:01Z</dcterms:modified>
</cp:coreProperties>
</file>